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4"/>
  </p:sldMasterIdLst>
  <p:notesMasterIdLst>
    <p:notesMasterId r:id="rId13"/>
  </p:notesMasterIdLst>
  <p:sldIdLst>
    <p:sldId id="532" r:id="rId5"/>
    <p:sldId id="576" r:id="rId6"/>
    <p:sldId id="581" r:id="rId7"/>
    <p:sldId id="584" r:id="rId8"/>
    <p:sldId id="582" r:id="rId9"/>
    <p:sldId id="579" r:id="rId10"/>
    <p:sldId id="583" r:id="rId11"/>
    <p:sldId id="580" r:id="rId12"/>
  </p:sldIdLst>
  <p:sldSz cx="12192000" cy="6858000"/>
  <p:notesSz cx="6858000" cy="9144000"/>
  <p:custDataLst>
    <p:tags r:id="rId14"/>
  </p:custDataLst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050"/>
    <a:srgbClr val="7EA3C6"/>
    <a:srgbClr val="2F5597"/>
    <a:srgbClr val="4A66AC"/>
    <a:srgbClr val="D0D3E3"/>
    <a:srgbClr val="9D90A0"/>
    <a:srgbClr val="F2F7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Μεσαίο στυλ 2 - Έμφαση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03447BB-5D67-496B-8E87-E561075AD55C}" styleName="Σκούρο στυλ 1 - Έμφαση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Σκούρο στυλ 1 - Έμφαση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Σκούρο στυλ 1 - Έμφαση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Μεσαίο στυλ 3 - Έμφαση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Μεσαίο στυλ 3 - Έμφαση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9631B5-78F2-41C9-869B-9F39066F8104}" styleName="Μεσαίο στυλ 3 - Έμφαση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Μεσαίο στυλ 2 - Έμφαση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629" autoAdjust="0"/>
    <p:restoredTop sz="78912" autoAdjust="0"/>
  </p:normalViewPr>
  <p:slideViewPr>
    <p:cSldViewPr snapToGrid="0">
      <p:cViewPr varScale="1">
        <p:scale>
          <a:sx n="82" d="100"/>
          <a:sy n="82" d="100"/>
        </p:scale>
        <p:origin x="734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1" d="100"/>
          <a:sy n="81" d="100"/>
        </p:scale>
        <p:origin x="292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8EBAAAF-B1DD-4992-9E27-11A1A38C5205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DC6CBE9-0160-41E8-ABD5-D20EC9E510D2}">
      <dgm:prSet phldrT="[Text]"/>
      <dgm:spPr/>
      <dgm:t>
        <a:bodyPr/>
        <a:lstStyle/>
        <a:p>
          <a:r>
            <a:rPr lang="el-GR" dirty="0"/>
            <a:t>Στοιχεία για τη συνταγή</a:t>
          </a:r>
          <a:endParaRPr lang="en-US" dirty="0"/>
        </a:p>
      </dgm:t>
    </dgm:pt>
    <dgm:pt modelId="{DFC0C8FF-81A2-4EE1-97FE-534668627666}" type="parTrans" cxnId="{40FAF7A2-AA2E-4704-A7BE-9A84FDA907D8}">
      <dgm:prSet/>
      <dgm:spPr/>
      <dgm:t>
        <a:bodyPr/>
        <a:lstStyle/>
        <a:p>
          <a:endParaRPr lang="en-US"/>
        </a:p>
      </dgm:t>
    </dgm:pt>
    <dgm:pt modelId="{5E31BC03-9AB7-4E28-A52F-07F7BE662DEB}" type="sibTrans" cxnId="{40FAF7A2-AA2E-4704-A7BE-9A84FDA907D8}">
      <dgm:prSet/>
      <dgm:spPr/>
      <dgm:t>
        <a:bodyPr/>
        <a:lstStyle/>
        <a:p>
          <a:endParaRPr lang="en-US"/>
        </a:p>
      </dgm:t>
    </dgm:pt>
    <dgm:pt modelId="{1F606DA2-E114-4236-A23E-AC23E949F492}">
      <dgm:prSet phldrT="[Text]"/>
      <dgm:spPr/>
      <dgm:t>
        <a:bodyPr/>
        <a:lstStyle/>
        <a:p>
          <a:r>
            <a:rPr lang="el-GR" dirty="0"/>
            <a:t>Επανάληψη συνταγής</a:t>
          </a:r>
          <a:endParaRPr lang="en-US" dirty="0"/>
        </a:p>
      </dgm:t>
    </dgm:pt>
    <dgm:pt modelId="{C77703A0-3939-4DAA-9957-CDFF4B36430B}" type="parTrans" cxnId="{B4CCE7DB-5837-4610-978F-FDFB7384673C}">
      <dgm:prSet/>
      <dgm:spPr/>
      <dgm:t>
        <a:bodyPr/>
        <a:lstStyle/>
        <a:p>
          <a:endParaRPr lang="en-US"/>
        </a:p>
      </dgm:t>
    </dgm:pt>
    <dgm:pt modelId="{EFD016B9-6363-438A-A2EA-A2EBB7499987}" type="sibTrans" cxnId="{B4CCE7DB-5837-4610-978F-FDFB7384673C}">
      <dgm:prSet/>
      <dgm:spPr/>
      <dgm:t>
        <a:bodyPr/>
        <a:lstStyle/>
        <a:p>
          <a:endParaRPr lang="en-US"/>
        </a:p>
      </dgm:t>
    </dgm:pt>
    <dgm:pt modelId="{4082077A-3645-4386-A35E-4FE503D07D57}">
      <dgm:prSet phldrT="[Text]"/>
      <dgm:spPr/>
      <dgm:t>
        <a:bodyPr/>
        <a:lstStyle/>
        <a:p>
          <a:r>
            <a:rPr lang="el-GR" dirty="0"/>
            <a:t>Στοιχεία ασθενούς</a:t>
          </a:r>
          <a:endParaRPr lang="en-US" dirty="0"/>
        </a:p>
      </dgm:t>
    </dgm:pt>
    <dgm:pt modelId="{E12B3CDE-7520-414C-9C8D-337C21C32B69}" type="parTrans" cxnId="{6ACCCDB6-7582-4DF3-BE41-E8EAFDEA1187}">
      <dgm:prSet/>
      <dgm:spPr/>
      <dgm:t>
        <a:bodyPr/>
        <a:lstStyle/>
        <a:p>
          <a:endParaRPr lang="en-US"/>
        </a:p>
      </dgm:t>
    </dgm:pt>
    <dgm:pt modelId="{A05EFDD5-4737-4A4E-9D5C-51F5EA0CEFF0}" type="sibTrans" cxnId="{6ACCCDB6-7582-4DF3-BE41-E8EAFDEA1187}">
      <dgm:prSet/>
      <dgm:spPr/>
      <dgm:t>
        <a:bodyPr/>
        <a:lstStyle/>
        <a:p>
          <a:endParaRPr lang="en-US"/>
        </a:p>
      </dgm:t>
    </dgm:pt>
    <dgm:pt modelId="{9C60F8E2-1857-48BD-9525-91DF7C759D71}">
      <dgm:prSet phldrT="[Text]"/>
      <dgm:spPr/>
      <dgm:t>
        <a:bodyPr/>
        <a:lstStyle/>
        <a:p>
          <a:r>
            <a:rPr lang="el-GR" dirty="0"/>
            <a:t>ΑΜΚΑ</a:t>
          </a:r>
          <a:endParaRPr lang="en-US" dirty="0"/>
        </a:p>
      </dgm:t>
    </dgm:pt>
    <dgm:pt modelId="{FD0C075E-249A-4DAE-8193-ED1C4EF57486}" type="parTrans" cxnId="{22779E63-0102-4AC6-BF99-6229813DF2CD}">
      <dgm:prSet/>
      <dgm:spPr/>
      <dgm:t>
        <a:bodyPr/>
        <a:lstStyle/>
        <a:p>
          <a:endParaRPr lang="en-US"/>
        </a:p>
      </dgm:t>
    </dgm:pt>
    <dgm:pt modelId="{9D7F98AB-A6F6-4173-A238-5F0D007D4EBD}" type="sibTrans" cxnId="{22779E63-0102-4AC6-BF99-6229813DF2CD}">
      <dgm:prSet/>
      <dgm:spPr/>
      <dgm:t>
        <a:bodyPr/>
        <a:lstStyle/>
        <a:p>
          <a:endParaRPr lang="en-US"/>
        </a:p>
      </dgm:t>
    </dgm:pt>
    <dgm:pt modelId="{1527D28C-D4F5-49A2-8B80-C9DB1422B043}">
      <dgm:prSet phldrT="[Text]"/>
      <dgm:spPr/>
      <dgm:t>
        <a:bodyPr/>
        <a:lstStyle/>
        <a:p>
          <a:r>
            <a:rPr lang="el-GR" dirty="0"/>
            <a:t>Στοιχεία ιατρού</a:t>
          </a:r>
          <a:endParaRPr lang="en-US" dirty="0"/>
        </a:p>
      </dgm:t>
    </dgm:pt>
    <dgm:pt modelId="{75DC2B39-114A-4C4A-8589-BA740B74F6E6}" type="parTrans" cxnId="{4F19B559-0984-4529-90F4-430F8F3B5AE5}">
      <dgm:prSet/>
      <dgm:spPr/>
      <dgm:t>
        <a:bodyPr/>
        <a:lstStyle/>
        <a:p>
          <a:endParaRPr lang="en-US"/>
        </a:p>
      </dgm:t>
    </dgm:pt>
    <dgm:pt modelId="{12DBDC92-DDCA-4D95-9762-4C9F3B74BDEE}" type="sibTrans" cxnId="{4F19B559-0984-4529-90F4-430F8F3B5AE5}">
      <dgm:prSet/>
      <dgm:spPr/>
      <dgm:t>
        <a:bodyPr/>
        <a:lstStyle/>
        <a:p>
          <a:endParaRPr lang="en-US"/>
        </a:p>
      </dgm:t>
    </dgm:pt>
    <dgm:pt modelId="{795D24FE-B058-426D-A831-F7CB0AA76067}">
      <dgm:prSet phldrT="[Text]"/>
      <dgm:spPr/>
      <dgm:t>
        <a:bodyPr/>
        <a:lstStyle/>
        <a:p>
          <a:r>
            <a:rPr lang="el-GR" dirty="0"/>
            <a:t>Ονοματεπώνυμο</a:t>
          </a:r>
          <a:endParaRPr lang="en-US" dirty="0"/>
        </a:p>
      </dgm:t>
    </dgm:pt>
    <dgm:pt modelId="{65653036-D781-488C-8965-7A190BF30542}" type="parTrans" cxnId="{4823B791-DEB9-46A7-A395-115EC500FB55}">
      <dgm:prSet/>
      <dgm:spPr/>
      <dgm:t>
        <a:bodyPr/>
        <a:lstStyle/>
        <a:p>
          <a:endParaRPr lang="en-US"/>
        </a:p>
      </dgm:t>
    </dgm:pt>
    <dgm:pt modelId="{A2F28270-FAB7-437C-B88E-FBA4C739B5B6}" type="sibTrans" cxnId="{4823B791-DEB9-46A7-A395-115EC500FB55}">
      <dgm:prSet/>
      <dgm:spPr/>
      <dgm:t>
        <a:bodyPr/>
        <a:lstStyle/>
        <a:p>
          <a:endParaRPr lang="en-US"/>
        </a:p>
      </dgm:t>
    </dgm:pt>
    <dgm:pt modelId="{8A9F3925-5C2E-4C57-BC63-83A801E1CEB3}">
      <dgm:prSet phldrT="[Text]"/>
      <dgm:spPr/>
      <dgm:t>
        <a:bodyPr/>
        <a:lstStyle/>
        <a:p>
          <a:r>
            <a:rPr lang="el-GR" dirty="0"/>
            <a:t>Κωδικός και ημερομηνία συνταγής (καταχώρησης και εκτέλεσης)</a:t>
          </a:r>
          <a:endParaRPr lang="en-US" dirty="0"/>
        </a:p>
      </dgm:t>
    </dgm:pt>
    <dgm:pt modelId="{1BFBBBA1-58BD-4F59-A245-9B6C7D3B3932}" type="parTrans" cxnId="{42055E72-0BF2-499A-8AD7-95912C22809A}">
      <dgm:prSet/>
      <dgm:spPr/>
      <dgm:t>
        <a:bodyPr/>
        <a:lstStyle/>
        <a:p>
          <a:endParaRPr lang="en-US"/>
        </a:p>
      </dgm:t>
    </dgm:pt>
    <dgm:pt modelId="{7EACC9C4-160F-4243-ADDA-BF1CD36D352A}" type="sibTrans" cxnId="{42055E72-0BF2-499A-8AD7-95912C22809A}">
      <dgm:prSet/>
      <dgm:spPr/>
      <dgm:t>
        <a:bodyPr/>
        <a:lstStyle/>
        <a:p>
          <a:endParaRPr lang="en-US"/>
        </a:p>
      </dgm:t>
    </dgm:pt>
    <dgm:pt modelId="{171B5C84-C593-4E13-B414-F2729B658935}">
      <dgm:prSet phldrT="[Text]"/>
      <dgm:spPr/>
      <dgm:t>
        <a:bodyPr/>
        <a:lstStyle/>
        <a:p>
          <a:r>
            <a:rPr lang="el-GR" dirty="0"/>
            <a:t>Κατάσταση συνταγής</a:t>
          </a:r>
          <a:endParaRPr lang="en-US" dirty="0"/>
        </a:p>
      </dgm:t>
    </dgm:pt>
    <dgm:pt modelId="{707F994A-4EA3-46FE-B6F7-0CD953009445}" type="parTrans" cxnId="{865B9C65-CE5A-444C-9FC7-5BF7CCD39EE6}">
      <dgm:prSet/>
      <dgm:spPr/>
      <dgm:t>
        <a:bodyPr/>
        <a:lstStyle/>
        <a:p>
          <a:endParaRPr lang="en-US"/>
        </a:p>
      </dgm:t>
    </dgm:pt>
    <dgm:pt modelId="{9E88ADA6-3323-49B0-80DA-005D570D8D31}" type="sibTrans" cxnId="{865B9C65-CE5A-444C-9FC7-5BF7CCD39EE6}">
      <dgm:prSet/>
      <dgm:spPr/>
      <dgm:t>
        <a:bodyPr/>
        <a:lstStyle/>
        <a:p>
          <a:endParaRPr lang="en-US"/>
        </a:p>
      </dgm:t>
    </dgm:pt>
    <dgm:pt modelId="{8C392D19-0E1B-4A05-AC3D-C1C42861A620}">
      <dgm:prSet/>
      <dgm:spPr/>
      <dgm:t>
        <a:bodyPr/>
        <a:lstStyle/>
        <a:p>
          <a:r>
            <a:rPr lang="el-GR" dirty="0"/>
            <a:t>Στοιχεία φαρμακείου</a:t>
          </a:r>
          <a:endParaRPr lang="en-US" dirty="0"/>
        </a:p>
      </dgm:t>
    </dgm:pt>
    <dgm:pt modelId="{648F8EEC-D1E6-4893-B796-0387C58B546D}" type="parTrans" cxnId="{B597056C-2AC0-405C-9023-62925DA96B3D}">
      <dgm:prSet/>
      <dgm:spPr/>
      <dgm:t>
        <a:bodyPr/>
        <a:lstStyle/>
        <a:p>
          <a:endParaRPr lang="en-US"/>
        </a:p>
      </dgm:t>
    </dgm:pt>
    <dgm:pt modelId="{99C468E2-282C-4EFE-B8DC-7F7440122546}" type="sibTrans" cxnId="{B597056C-2AC0-405C-9023-62925DA96B3D}">
      <dgm:prSet/>
      <dgm:spPr/>
      <dgm:t>
        <a:bodyPr/>
        <a:lstStyle/>
        <a:p>
          <a:endParaRPr lang="en-US"/>
        </a:p>
      </dgm:t>
    </dgm:pt>
    <dgm:pt modelId="{5CC8AE2A-2E23-4568-9480-9D63F0E5B6C6}">
      <dgm:prSet/>
      <dgm:spPr/>
      <dgm:t>
        <a:bodyPr/>
        <a:lstStyle/>
        <a:p>
          <a:r>
            <a:rPr lang="el-GR" dirty="0"/>
            <a:t>Στοιχεία φαρμάκου</a:t>
          </a:r>
          <a:endParaRPr lang="en-US" dirty="0"/>
        </a:p>
      </dgm:t>
    </dgm:pt>
    <dgm:pt modelId="{F40A32DD-88FB-409E-9E5B-BF9A17170A6E}" type="parTrans" cxnId="{FF7AF7B6-4D16-43BB-BFF2-12D195353388}">
      <dgm:prSet/>
      <dgm:spPr/>
      <dgm:t>
        <a:bodyPr/>
        <a:lstStyle/>
        <a:p>
          <a:endParaRPr lang="en-US"/>
        </a:p>
      </dgm:t>
    </dgm:pt>
    <dgm:pt modelId="{484225B9-0AF7-487F-A3E8-064610431084}" type="sibTrans" cxnId="{FF7AF7B6-4D16-43BB-BFF2-12D195353388}">
      <dgm:prSet/>
      <dgm:spPr/>
      <dgm:t>
        <a:bodyPr/>
        <a:lstStyle/>
        <a:p>
          <a:endParaRPr lang="en-US"/>
        </a:p>
      </dgm:t>
    </dgm:pt>
    <dgm:pt modelId="{9CC2869B-A57A-48D0-BED5-5A5892C5DCDC}">
      <dgm:prSet/>
      <dgm:spPr/>
      <dgm:t>
        <a:bodyPr/>
        <a:lstStyle/>
        <a:p>
          <a:r>
            <a:rPr lang="el-GR" dirty="0"/>
            <a:t>Ποσότητα και κόστος συνταγής</a:t>
          </a:r>
          <a:endParaRPr lang="en-US" dirty="0"/>
        </a:p>
      </dgm:t>
    </dgm:pt>
    <dgm:pt modelId="{E9636252-9BAA-4A31-8BFE-15ACF0464C46}" type="parTrans" cxnId="{E87B769D-31F2-4874-9007-A3C76BA0AF9C}">
      <dgm:prSet/>
      <dgm:spPr/>
      <dgm:t>
        <a:bodyPr/>
        <a:lstStyle/>
        <a:p>
          <a:endParaRPr lang="en-US"/>
        </a:p>
      </dgm:t>
    </dgm:pt>
    <dgm:pt modelId="{402F2D69-453B-4CAA-A231-5C68776B9196}" type="sibTrans" cxnId="{E87B769D-31F2-4874-9007-A3C76BA0AF9C}">
      <dgm:prSet/>
      <dgm:spPr/>
      <dgm:t>
        <a:bodyPr/>
        <a:lstStyle/>
        <a:p>
          <a:endParaRPr lang="en-US"/>
        </a:p>
      </dgm:t>
    </dgm:pt>
    <dgm:pt modelId="{4E23663E-E92F-4D69-AD28-85AED2A2CC4A}">
      <dgm:prSet/>
      <dgm:spPr/>
      <dgm:t>
        <a:bodyPr/>
        <a:lstStyle/>
        <a:p>
          <a:r>
            <a:rPr lang="el-GR" dirty="0"/>
            <a:t>Φαρμακείο (ΑΦΜ)</a:t>
          </a:r>
          <a:endParaRPr lang="en-US" dirty="0"/>
        </a:p>
      </dgm:t>
    </dgm:pt>
    <dgm:pt modelId="{23DA3111-A6C0-41A6-B086-98B9628C3D75}" type="parTrans" cxnId="{935AA9A3-ED06-4A7C-A8D6-A3AAD73944DC}">
      <dgm:prSet/>
      <dgm:spPr/>
      <dgm:t>
        <a:bodyPr/>
        <a:lstStyle/>
        <a:p>
          <a:endParaRPr lang="en-US"/>
        </a:p>
      </dgm:t>
    </dgm:pt>
    <dgm:pt modelId="{C89D4151-1DBB-463E-804E-AA117615E3A6}" type="sibTrans" cxnId="{935AA9A3-ED06-4A7C-A8D6-A3AAD73944DC}">
      <dgm:prSet/>
      <dgm:spPr/>
      <dgm:t>
        <a:bodyPr/>
        <a:lstStyle/>
        <a:p>
          <a:endParaRPr lang="en-US"/>
        </a:p>
      </dgm:t>
    </dgm:pt>
    <dgm:pt modelId="{36302E79-FD95-42D5-9653-99EA5AF8D1AE}">
      <dgm:prSet/>
      <dgm:spPr/>
      <dgm:t>
        <a:bodyPr/>
        <a:lstStyle/>
        <a:p>
          <a:r>
            <a:rPr lang="el-GR" dirty="0"/>
            <a:t>Δ/</a:t>
          </a:r>
          <a:r>
            <a:rPr lang="el-GR" dirty="0" err="1"/>
            <a:t>νση</a:t>
          </a:r>
          <a:r>
            <a:rPr lang="el-GR" dirty="0"/>
            <a:t> φαρμακείου</a:t>
          </a:r>
          <a:endParaRPr lang="en-US" dirty="0"/>
        </a:p>
      </dgm:t>
    </dgm:pt>
    <dgm:pt modelId="{401C57AC-494A-410D-8467-8DCD88055D2F}" type="parTrans" cxnId="{9E964093-AEA6-446A-9D34-2249A757D246}">
      <dgm:prSet/>
      <dgm:spPr/>
      <dgm:t>
        <a:bodyPr/>
        <a:lstStyle/>
        <a:p>
          <a:endParaRPr lang="en-US"/>
        </a:p>
      </dgm:t>
    </dgm:pt>
    <dgm:pt modelId="{A92F3AF7-102B-4C2B-9F80-F723B81038B5}" type="sibTrans" cxnId="{9E964093-AEA6-446A-9D34-2249A757D246}">
      <dgm:prSet/>
      <dgm:spPr/>
      <dgm:t>
        <a:bodyPr/>
        <a:lstStyle/>
        <a:p>
          <a:endParaRPr lang="en-US"/>
        </a:p>
      </dgm:t>
    </dgm:pt>
    <dgm:pt modelId="{116236EB-1752-42E8-BE7C-18444EB1FBF3}">
      <dgm:prSet/>
      <dgm:spPr/>
      <dgm:t>
        <a:bodyPr/>
        <a:lstStyle/>
        <a:p>
          <a:r>
            <a:rPr lang="en-US" dirty="0"/>
            <a:t>Barcode</a:t>
          </a:r>
          <a:r>
            <a:rPr lang="el-GR" dirty="0"/>
            <a:t> &amp; </a:t>
          </a:r>
          <a:r>
            <a:rPr lang="en-US" dirty="0"/>
            <a:t>ATC </a:t>
          </a:r>
          <a:r>
            <a:rPr lang="el-GR" dirty="0"/>
            <a:t>κωδικός</a:t>
          </a:r>
          <a:endParaRPr lang="en-US" dirty="0"/>
        </a:p>
      </dgm:t>
    </dgm:pt>
    <dgm:pt modelId="{9897AA9D-C2E9-4D54-9ACD-B9503094E662}" type="parTrans" cxnId="{59D954F6-E521-4062-B37E-15E43C0B6B9D}">
      <dgm:prSet/>
      <dgm:spPr/>
      <dgm:t>
        <a:bodyPr/>
        <a:lstStyle/>
        <a:p>
          <a:endParaRPr lang="en-US"/>
        </a:p>
      </dgm:t>
    </dgm:pt>
    <dgm:pt modelId="{9ED3EC3C-E466-4A60-84EC-718AAED2461B}" type="sibTrans" cxnId="{59D954F6-E521-4062-B37E-15E43C0B6B9D}">
      <dgm:prSet/>
      <dgm:spPr/>
      <dgm:t>
        <a:bodyPr/>
        <a:lstStyle/>
        <a:p>
          <a:endParaRPr lang="en-US"/>
        </a:p>
      </dgm:t>
    </dgm:pt>
    <dgm:pt modelId="{23A0CE6F-71E2-49A4-8840-096371EAAC60}">
      <dgm:prSet/>
      <dgm:spPr/>
      <dgm:t>
        <a:bodyPr/>
        <a:lstStyle/>
        <a:p>
          <a:r>
            <a:rPr lang="el-GR" dirty="0"/>
            <a:t>Εμπορική ονομασία και περιγραφή σκευάσματος</a:t>
          </a:r>
          <a:endParaRPr lang="en-US" dirty="0"/>
        </a:p>
      </dgm:t>
    </dgm:pt>
    <dgm:pt modelId="{037B8520-BF2C-4D7B-8FEF-816F47FDC626}" type="parTrans" cxnId="{0FD41D22-8532-495F-8FD8-E48118E5ECCD}">
      <dgm:prSet/>
      <dgm:spPr/>
      <dgm:t>
        <a:bodyPr/>
        <a:lstStyle/>
        <a:p>
          <a:endParaRPr lang="en-US"/>
        </a:p>
      </dgm:t>
    </dgm:pt>
    <dgm:pt modelId="{82139517-FFE1-4B5D-96CB-0F778D3C19CB}" type="sibTrans" cxnId="{0FD41D22-8532-495F-8FD8-E48118E5ECCD}">
      <dgm:prSet/>
      <dgm:spPr/>
      <dgm:t>
        <a:bodyPr/>
        <a:lstStyle/>
        <a:p>
          <a:endParaRPr lang="en-US"/>
        </a:p>
      </dgm:t>
    </dgm:pt>
    <dgm:pt modelId="{BA4C4E43-8B0C-4592-994E-E4CD03B9D53A}">
      <dgm:prSet/>
      <dgm:spPr/>
      <dgm:t>
        <a:bodyPr/>
        <a:lstStyle/>
        <a:p>
          <a:r>
            <a:rPr lang="el-GR" dirty="0"/>
            <a:t>Κόστος φαρμάκου</a:t>
          </a:r>
          <a:endParaRPr lang="en-US" dirty="0"/>
        </a:p>
      </dgm:t>
    </dgm:pt>
    <dgm:pt modelId="{F69DF16E-4C41-4922-BCA3-CF9CA73BE494}" type="parTrans" cxnId="{13F9EB63-F919-4455-B06D-8759E7932ECA}">
      <dgm:prSet/>
      <dgm:spPr/>
      <dgm:t>
        <a:bodyPr/>
        <a:lstStyle/>
        <a:p>
          <a:endParaRPr lang="en-US"/>
        </a:p>
      </dgm:t>
    </dgm:pt>
    <dgm:pt modelId="{FCE53D39-FCFD-4487-A2F8-24CFBCF5CA2E}" type="sibTrans" cxnId="{13F9EB63-F919-4455-B06D-8759E7932ECA}">
      <dgm:prSet/>
      <dgm:spPr/>
      <dgm:t>
        <a:bodyPr/>
        <a:lstStyle/>
        <a:p>
          <a:endParaRPr lang="en-US"/>
        </a:p>
      </dgm:t>
    </dgm:pt>
    <dgm:pt modelId="{2B0AB1F9-1366-4A8B-9A60-48767062373E}">
      <dgm:prSet/>
      <dgm:spPr/>
      <dgm:t>
        <a:bodyPr/>
        <a:lstStyle/>
        <a:p>
          <a:r>
            <a:rPr lang="el-GR" dirty="0"/>
            <a:t>Παραγωγός φαρμάκου</a:t>
          </a:r>
          <a:endParaRPr lang="en-US" dirty="0"/>
        </a:p>
      </dgm:t>
    </dgm:pt>
    <dgm:pt modelId="{975F772B-7293-4F7A-9D6D-F991D1DFC6EA}" type="parTrans" cxnId="{13527681-9C35-4DA9-8910-5AED64D898F4}">
      <dgm:prSet/>
      <dgm:spPr/>
      <dgm:t>
        <a:bodyPr/>
        <a:lstStyle/>
        <a:p>
          <a:endParaRPr lang="en-US"/>
        </a:p>
      </dgm:t>
    </dgm:pt>
    <dgm:pt modelId="{AC5BB608-6783-4143-897F-D4B156A744AB}" type="sibTrans" cxnId="{13527681-9C35-4DA9-8910-5AED64D898F4}">
      <dgm:prSet/>
      <dgm:spPr/>
      <dgm:t>
        <a:bodyPr/>
        <a:lstStyle/>
        <a:p>
          <a:endParaRPr lang="en-US"/>
        </a:p>
      </dgm:t>
    </dgm:pt>
    <dgm:pt modelId="{7EB6738B-DE2F-4DCA-B830-2AD139D76BB0}">
      <dgm:prSet/>
      <dgm:spPr/>
      <dgm:t>
        <a:bodyPr/>
        <a:lstStyle/>
        <a:p>
          <a:r>
            <a:rPr lang="el-GR" dirty="0"/>
            <a:t>Ποσό και μονάδα δόσης</a:t>
          </a:r>
          <a:endParaRPr lang="en-US" dirty="0"/>
        </a:p>
      </dgm:t>
    </dgm:pt>
    <dgm:pt modelId="{DE98E60C-3F77-4C81-AEC4-59300D3C37E6}" type="parTrans" cxnId="{4E34AEB8-D30E-494C-A1A2-5A51B3D2827B}">
      <dgm:prSet/>
      <dgm:spPr/>
      <dgm:t>
        <a:bodyPr/>
        <a:lstStyle/>
        <a:p>
          <a:endParaRPr lang="en-US"/>
        </a:p>
      </dgm:t>
    </dgm:pt>
    <dgm:pt modelId="{DAD1156E-7C8B-430B-8D63-746896BE6384}" type="sibTrans" cxnId="{4E34AEB8-D30E-494C-A1A2-5A51B3D2827B}">
      <dgm:prSet/>
      <dgm:spPr/>
      <dgm:t>
        <a:bodyPr/>
        <a:lstStyle/>
        <a:p>
          <a:endParaRPr lang="en-US"/>
        </a:p>
      </dgm:t>
    </dgm:pt>
    <dgm:pt modelId="{16877AFD-6492-4966-BB8B-8F6A9EF132E4}">
      <dgm:prSet/>
      <dgm:spPr/>
      <dgm:t>
        <a:bodyPr/>
        <a:lstStyle/>
        <a:p>
          <a:r>
            <a:rPr lang="el-GR" dirty="0"/>
            <a:t>Διάρκεια θεραπείας (μέρες)</a:t>
          </a:r>
          <a:endParaRPr lang="en-US" dirty="0"/>
        </a:p>
      </dgm:t>
    </dgm:pt>
    <dgm:pt modelId="{1AA98EA4-FC16-4E8A-8BD7-F5FDB49A3E6C}" type="parTrans" cxnId="{F716E192-F654-4C7B-94AF-AED3A95FFE34}">
      <dgm:prSet/>
      <dgm:spPr/>
      <dgm:t>
        <a:bodyPr/>
        <a:lstStyle/>
        <a:p>
          <a:endParaRPr lang="en-US"/>
        </a:p>
      </dgm:t>
    </dgm:pt>
    <dgm:pt modelId="{1ABE408C-B15E-4DF1-84C3-FE016E91FD0D}" type="sibTrans" cxnId="{F716E192-F654-4C7B-94AF-AED3A95FFE34}">
      <dgm:prSet/>
      <dgm:spPr/>
      <dgm:t>
        <a:bodyPr/>
        <a:lstStyle/>
        <a:p>
          <a:endParaRPr lang="en-US"/>
        </a:p>
      </dgm:t>
    </dgm:pt>
    <dgm:pt modelId="{EC4762B3-D25B-4A1B-A3E4-F5FE5310D0CA}">
      <dgm:prSet/>
      <dgm:spPr/>
      <dgm:t>
        <a:bodyPr/>
        <a:lstStyle/>
        <a:p>
          <a:r>
            <a:rPr lang="el-GR" dirty="0"/>
            <a:t>Τιμή (Λιανική και αποζημίωσης)</a:t>
          </a:r>
          <a:endParaRPr lang="en-US" dirty="0"/>
        </a:p>
      </dgm:t>
    </dgm:pt>
    <dgm:pt modelId="{11072B69-341D-4A69-AA50-02B526AAA499}" type="parTrans" cxnId="{748BA0FC-C788-4AE6-AFC1-0EF5DD440A72}">
      <dgm:prSet/>
      <dgm:spPr/>
      <dgm:t>
        <a:bodyPr/>
        <a:lstStyle/>
        <a:p>
          <a:endParaRPr lang="en-US"/>
        </a:p>
      </dgm:t>
    </dgm:pt>
    <dgm:pt modelId="{C08BD74D-C2C0-4D31-BD38-98498B43E66A}" type="sibTrans" cxnId="{748BA0FC-C788-4AE6-AFC1-0EF5DD440A72}">
      <dgm:prSet/>
      <dgm:spPr/>
      <dgm:t>
        <a:bodyPr/>
        <a:lstStyle/>
        <a:p>
          <a:endParaRPr lang="en-US"/>
        </a:p>
      </dgm:t>
    </dgm:pt>
    <dgm:pt modelId="{B6B07B5E-F192-4BB0-90E8-FFC8E3A4CB6B}">
      <dgm:prSet phldrT="[Text]"/>
      <dgm:spPr/>
      <dgm:t>
        <a:bodyPr/>
        <a:lstStyle/>
        <a:p>
          <a:r>
            <a:rPr lang="el-GR" dirty="0"/>
            <a:t>ΑΦΜ</a:t>
          </a:r>
          <a:endParaRPr lang="en-US" dirty="0"/>
        </a:p>
      </dgm:t>
    </dgm:pt>
    <dgm:pt modelId="{4AAA2233-0D0E-4F4E-94D3-5B27A23945FB}" type="parTrans" cxnId="{11DED24D-CF5C-49FF-AB41-30B9C044F523}">
      <dgm:prSet/>
      <dgm:spPr/>
      <dgm:t>
        <a:bodyPr/>
        <a:lstStyle/>
        <a:p>
          <a:endParaRPr lang="en-US"/>
        </a:p>
      </dgm:t>
    </dgm:pt>
    <dgm:pt modelId="{E49FA48C-7000-490E-99FE-E646AC510318}" type="sibTrans" cxnId="{11DED24D-CF5C-49FF-AB41-30B9C044F523}">
      <dgm:prSet/>
      <dgm:spPr/>
      <dgm:t>
        <a:bodyPr/>
        <a:lstStyle/>
        <a:p>
          <a:endParaRPr lang="en-US"/>
        </a:p>
      </dgm:t>
    </dgm:pt>
    <dgm:pt modelId="{732B1680-7CA6-4D3A-981A-E1151A9A1471}">
      <dgm:prSet phldrT="[Text]"/>
      <dgm:spPr/>
      <dgm:t>
        <a:bodyPr/>
        <a:lstStyle/>
        <a:p>
          <a:r>
            <a:rPr lang="el-GR" dirty="0"/>
            <a:t>Ειδικότητα</a:t>
          </a:r>
          <a:endParaRPr lang="en-US" dirty="0"/>
        </a:p>
      </dgm:t>
    </dgm:pt>
    <dgm:pt modelId="{71304967-3826-479B-AFD6-B41453566D85}" type="parTrans" cxnId="{0FFB7129-75FA-4042-9E49-A5B3C718BFBD}">
      <dgm:prSet/>
      <dgm:spPr/>
      <dgm:t>
        <a:bodyPr/>
        <a:lstStyle/>
        <a:p>
          <a:endParaRPr lang="en-US"/>
        </a:p>
      </dgm:t>
    </dgm:pt>
    <dgm:pt modelId="{F325A004-A185-4BEC-BAE9-19EFF7C32A12}" type="sibTrans" cxnId="{0FFB7129-75FA-4042-9E49-A5B3C718BFBD}">
      <dgm:prSet/>
      <dgm:spPr/>
      <dgm:t>
        <a:bodyPr/>
        <a:lstStyle/>
        <a:p>
          <a:endParaRPr lang="en-US"/>
        </a:p>
      </dgm:t>
    </dgm:pt>
    <dgm:pt modelId="{E8010BB7-A6FB-4D61-8DFC-2BEBCE5ADFEC}">
      <dgm:prSet phldrT="[Text]"/>
      <dgm:spPr/>
      <dgm:t>
        <a:bodyPr/>
        <a:lstStyle/>
        <a:p>
          <a:r>
            <a:rPr lang="el-GR" dirty="0"/>
            <a:t>Χώρος εργασίας ιατρού</a:t>
          </a:r>
          <a:endParaRPr lang="en-US" dirty="0"/>
        </a:p>
      </dgm:t>
    </dgm:pt>
    <dgm:pt modelId="{8CE90D3F-E840-4613-BE0A-511994D6FF74}" type="parTrans" cxnId="{6E0C7EFB-18F6-4AFB-AA8B-C78D3E5268EC}">
      <dgm:prSet/>
      <dgm:spPr/>
      <dgm:t>
        <a:bodyPr/>
        <a:lstStyle/>
        <a:p>
          <a:endParaRPr lang="en-US"/>
        </a:p>
      </dgm:t>
    </dgm:pt>
    <dgm:pt modelId="{1A16F62A-1277-44EC-8A3B-FE3F56AAC1FB}" type="sibTrans" cxnId="{6E0C7EFB-18F6-4AFB-AA8B-C78D3E5268EC}">
      <dgm:prSet/>
      <dgm:spPr/>
      <dgm:t>
        <a:bodyPr/>
        <a:lstStyle/>
        <a:p>
          <a:endParaRPr lang="en-US"/>
        </a:p>
      </dgm:t>
    </dgm:pt>
    <dgm:pt modelId="{BBBB6CBD-2CC8-4868-B459-C1800FD31461}">
      <dgm:prSet phldrT="[Text]"/>
      <dgm:spPr/>
      <dgm:t>
        <a:bodyPr/>
        <a:lstStyle/>
        <a:p>
          <a:r>
            <a:rPr lang="el-GR" dirty="0"/>
            <a:t>Ονοματεπώνυμο</a:t>
          </a:r>
          <a:endParaRPr lang="en-US" dirty="0"/>
        </a:p>
      </dgm:t>
    </dgm:pt>
    <dgm:pt modelId="{F1385A96-CBE7-49B0-A770-D30A45867107}" type="parTrans" cxnId="{81555F23-C4FD-452A-8908-8F3645EC609F}">
      <dgm:prSet/>
      <dgm:spPr/>
      <dgm:t>
        <a:bodyPr/>
        <a:lstStyle/>
        <a:p>
          <a:endParaRPr lang="en-US"/>
        </a:p>
      </dgm:t>
    </dgm:pt>
    <dgm:pt modelId="{599F69F0-62DA-4DC0-BDF5-909F28C93BE4}" type="sibTrans" cxnId="{81555F23-C4FD-452A-8908-8F3645EC609F}">
      <dgm:prSet/>
      <dgm:spPr/>
      <dgm:t>
        <a:bodyPr/>
        <a:lstStyle/>
        <a:p>
          <a:endParaRPr lang="en-US"/>
        </a:p>
      </dgm:t>
    </dgm:pt>
    <dgm:pt modelId="{1F29A979-D113-4394-96C5-82C37480EEED}" type="pres">
      <dgm:prSet presAssocID="{78EBAAAF-B1DD-4992-9E27-11A1A38C5205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2C5C6D9D-79BD-4D70-BD01-021639E09AA5}" type="pres">
      <dgm:prSet presAssocID="{FDC6CBE9-0160-41E8-ABD5-D20EC9E510D2}" presName="root" presStyleCnt="0"/>
      <dgm:spPr/>
    </dgm:pt>
    <dgm:pt modelId="{98C2FB46-6979-4856-A602-E103E111B0B2}" type="pres">
      <dgm:prSet presAssocID="{FDC6CBE9-0160-41E8-ABD5-D20EC9E510D2}" presName="rootComposite" presStyleCnt="0"/>
      <dgm:spPr/>
    </dgm:pt>
    <dgm:pt modelId="{44F4CAA2-A927-4A60-86AB-BB0547366A21}" type="pres">
      <dgm:prSet presAssocID="{FDC6CBE9-0160-41E8-ABD5-D20EC9E510D2}" presName="rootText" presStyleLbl="node1" presStyleIdx="0" presStyleCnt="6"/>
      <dgm:spPr/>
    </dgm:pt>
    <dgm:pt modelId="{E02D3E0E-DCDE-4EC3-BAE3-40AC198F32F6}" type="pres">
      <dgm:prSet presAssocID="{FDC6CBE9-0160-41E8-ABD5-D20EC9E510D2}" presName="rootConnector" presStyleLbl="node1" presStyleIdx="0" presStyleCnt="6"/>
      <dgm:spPr/>
    </dgm:pt>
    <dgm:pt modelId="{05130EDC-03AF-4C5E-9405-8CA73B44F65C}" type="pres">
      <dgm:prSet presAssocID="{FDC6CBE9-0160-41E8-ABD5-D20EC9E510D2}" presName="childShape" presStyleCnt="0"/>
      <dgm:spPr/>
    </dgm:pt>
    <dgm:pt modelId="{97912830-6AB2-4CA0-A2DE-F8C11A29DD70}" type="pres">
      <dgm:prSet presAssocID="{C77703A0-3939-4DAA-9957-CDFF4B36430B}" presName="Name13" presStyleLbl="parChTrans1D2" presStyleIdx="0" presStyleCnt="18"/>
      <dgm:spPr/>
    </dgm:pt>
    <dgm:pt modelId="{835F7225-5917-4CE4-BF8F-58032CBA9228}" type="pres">
      <dgm:prSet presAssocID="{1F606DA2-E114-4236-A23E-AC23E949F492}" presName="childText" presStyleLbl="bgAcc1" presStyleIdx="0" presStyleCnt="18">
        <dgm:presLayoutVars>
          <dgm:bulletEnabled val="1"/>
        </dgm:presLayoutVars>
      </dgm:prSet>
      <dgm:spPr/>
    </dgm:pt>
    <dgm:pt modelId="{EE23E60F-69E9-4449-8866-DCB9EBE3A52D}" type="pres">
      <dgm:prSet presAssocID="{1BFBBBA1-58BD-4F59-A245-9B6C7D3B3932}" presName="Name13" presStyleLbl="parChTrans1D2" presStyleIdx="1" presStyleCnt="18"/>
      <dgm:spPr/>
    </dgm:pt>
    <dgm:pt modelId="{A4F908BF-DE50-4DA6-842C-05D626F852B9}" type="pres">
      <dgm:prSet presAssocID="{8A9F3925-5C2E-4C57-BC63-83A801E1CEB3}" presName="childText" presStyleLbl="bgAcc1" presStyleIdx="1" presStyleCnt="18">
        <dgm:presLayoutVars>
          <dgm:bulletEnabled val="1"/>
        </dgm:presLayoutVars>
      </dgm:prSet>
      <dgm:spPr/>
    </dgm:pt>
    <dgm:pt modelId="{0830D9BB-694E-444F-9F67-7DFD7720621C}" type="pres">
      <dgm:prSet presAssocID="{707F994A-4EA3-46FE-B6F7-0CD953009445}" presName="Name13" presStyleLbl="parChTrans1D2" presStyleIdx="2" presStyleCnt="18"/>
      <dgm:spPr/>
    </dgm:pt>
    <dgm:pt modelId="{53AFE169-5265-4E75-B45B-E0F59E810A4B}" type="pres">
      <dgm:prSet presAssocID="{171B5C84-C593-4E13-B414-F2729B658935}" presName="childText" presStyleLbl="bgAcc1" presStyleIdx="2" presStyleCnt="18">
        <dgm:presLayoutVars>
          <dgm:bulletEnabled val="1"/>
        </dgm:presLayoutVars>
      </dgm:prSet>
      <dgm:spPr/>
    </dgm:pt>
    <dgm:pt modelId="{8047EE52-ACAD-445E-A94A-B000B7A2ECE9}" type="pres">
      <dgm:prSet presAssocID="{4082077A-3645-4386-A35E-4FE503D07D57}" presName="root" presStyleCnt="0"/>
      <dgm:spPr/>
    </dgm:pt>
    <dgm:pt modelId="{018CEE00-2CE4-4FED-A0E4-D37EB8A4F815}" type="pres">
      <dgm:prSet presAssocID="{4082077A-3645-4386-A35E-4FE503D07D57}" presName="rootComposite" presStyleCnt="0"/>
      <dgm:spPr/>
    </dgm:pt>
    <dgm:pt modelId="{DC8A42D2-8C66-465B-B760-144FFB552943}" type="pres">
      <dgm:prSet presAssocID="{4082077A-3645-4386-A35E-4FE503D07D57}" presName="rootText" presStyleLbl="node1" presStyleIdx="1" presStyleCnt="6"/>
      <dgm:spPr/>
    </dgm:pt>
    <dgm:pt modelId="{038E0CFF-9943-466C-B026-AE61C76FA085}" type="pres">
      <dgm:prSet presAssocID="{4082077A-3645-4386-A35E-4FE503D07D57}" presName="rootConnector" presStyleLbl="node1" presStyleIdx="1" presStyleCnt="6"/>
      <dgm:spPr/>
    </dgm:pt>
    <dgm:pt modelId="{F5693781-6F16-4ABB-9EE6-F66D4FF925E1}" type="pres">
      <dgm:prSet presAssocID="{4082077A-3645-4386-A35E-4FE503D07D57}" presName="childShape" presStyleCnt="0"/>
      <dgm:spPr/>
    </dgm:pt>
    <dgm:pt modelId="{6939E272-5D38-456B-95E0-4B4CD268A321}" type="pres">
      <dgm:prSet presAssocID="{FD0C075E-249A-4DAE-8193-ED1C4EF57486}" presName="Name13" presStyleLbl="parChTrans1D2" presStyleIdx="3" presStyleCnt="18"/>
      <dgm:spPr/>
    </dgm:pt>
    <dgm:pt modelId="{0DC201C2-9EA7-4C28-B1F4-A48BEF002A72}" type="pres">
      <dgm:prSet presAssocID="{9C60F8E2-1857-48BD-9525-91DF7C759D71}" presName="childText" presStyleLbl="bgAcc1" presStyleIdx="3" presStyleCnt="18">
        <dgm:presLayoutVars>
          <dgm:bulletEnabled val="1"/>
        </dgm:presLayoutVars>
      </dgm:prSet>
      <dgm:spPr/>
    </dgm:pt>
    <dgm:pt modelId="{CE5A7ED6-DF61-4E0A-9F34-0CC5D1899C8E}" type="pres">
      <dgm:prSet presAssocID="{F1385A96-CBE7-49B0-A770-D30A45867107}" presName="Name13" presStyleLbl="parChTrans1D2" presStyleIdx="4" presStyleCnt="18"/>
      <dgm:spPr/>
    </dgm:pt>
    <dgm:pt modelId="{A4CBE883-5221-4F10-96D7-3C34A3AB1330}" type="pres">
      <dgm:prSet presAssocID="{BBBB6CBD-2CC8-4868-B459-C1800FD31461}" presName="childText" presStyleLbl="bgAcc1" presStyleIdx="4" presStyleCnt="18">
        <dgm:presLayoutVars>
          <dgm:bulletEnabled val="1"/>
        </dgm:presLayoutVars>
      </dgm:prSet>
      <dgm:spPr/>
    </dgm:pt>
    <dgm:pt modelId="{C8E354CE-75A2-475A-80C3-EFAE8365861A}" type="pres">
      <dgm:prSet presAssocID="{1527D28C-D4F5-49A2-8B80-C9DB1422B043}" presName="root" presStyleCnt="0"/>
      <dgm:spPr/>
    </dgm:pt>
    <dgm:pt modelId="{B43CB3C5-E7BE-4DEF-BF0D-58EB6033F082}" type="pres">
      <dgm:prSet presAssocID="{1527D28C-D4F5-49A2-8B80-C9DB1422B043}" presName="rootComposite" presStyleCnt="0"/>
      <dgm:spPr/>
    </dgm:pt>
    <dgm:pt modelId="{AD3BB672-A78D-4464-BFF4-4922B91DFCB0}" type="pres">
      <dgm:prSet presAssocID="{1527D28C-D4F5-49A2-8B80-C9DB1422B043}" presName="rootText" presStyleLbl="node1" presStyleIdx="2" presStyleCnt="6"/>
      <dgm:spPr/>
    </dgm:pt>
    <dgm:pt modelId="{36C66995-C129-4846-A543-767A64F8F5FA}" type="pres">
      <dgm:prSet presAssocID="{1527D28C-D4F5-49A2-8B80-C9DB1422B043}" presName="rootConnector" presStyleLbl="node1" presStyleIdx="2" presStyleCnt="6"/>
      <dgm:spPr/>
    </dgm:pt>
    <dgm:pt modelId="{03E56F92-FDBD-483D-99C2-C0CD036D3298}" type="pres">
      <dgm:prSet presAssocID="{1527D28C-D4F5-49A2-8B80-C9DB1422B043}" presName="childShape" presStyleCnt="0"/>
      <dgm:spPr/>
    </dgm:pt>
    <dgm:pt modelId="{2E9FF865-3F67-4274-8B82-979364F595BE}" type="pres">
      <dgm:prSet presAssocID="{65653036-D781-488C-8965-7A190BF30542}" presName="Name13" presStyleLbl="parChTrans1D2" presStyleIdx="5" presStyleCnt="18"/>
      <dgm:spPr/>
    </dgm:pt>
    <dgm:pt modelId="{F288BCD3-220A-4882-8B3F-63B02E039D23}" type="pres">
      <dgm:prSet presAssocID="{795D24FE-B058-426D-A831-F7CB0AA76067}" presName="childText" presStyleLbl="bgAcc1" presStyleIdx="5" presStyleCnt="18">
        <dgm:presLayoutVars>
          <dgm:bulletEnabled val="1"/>
        </dgm:presLayoutVars>
      </dgm:prSet>
      <dgm:spPr/>
    </dgm:pt>
    <dgm:pt modelId="{CB98F32F-0011-40CE-AA74-30370A3DFFE4}" type="pres">
      <dgm:prSet presAssocID="{4AAA2233-0D0E-4F4E-94D3-5B27A23945FB}" presName="Name13" presStyleLbl="parChTrans1D2" presStyleIdx="6" presStyleCnt="18"/>
      <dgm:spPr/>
    </dgm:pt>
    <dgm:pt modelId="{74C35790-9CB4-419C-B89D-BE49258C6216}" type="pres">
      <dgm:prSet presAssocID="{B6B07B5E-F192-4BB0-90E8-FFC8E3A4CB6B}" presName="childText" presStyleLbl="bgAcc1" presStyleIdx="6" presStyleCnt="18">
        <dgm:presLayoutVars>
          <dgm:bulletEnabled val="1"/>
        </dgm:presLayoutVars>
      </dgm:prSet>
      <dgm:spPr/>
    </dgm:pt>
    <dgm:pt modelId="{26DE12CE-70B8-4F36-B7CB-D28279800B45}" type="pres">
      <dgm:prSet presAssocID="{71304967-3826-479B-AFD6-B41453566D85}" presName="Name13" presStyleLbl="parChTrans1D2" presStyleIdx="7" presStyleCnt="18"/>
      <dgm:spPr/>
    </dgm:pt>
    <dgm:pt modelId="{F7BD7379-C978-4D4E-99F0-2644C6E536C7}" type="pres">
      <dgm:prSet presAssocID="{732B1680-7CA6-4D3A-981A-E1151A9A1471}" presName="childText" presStyleLbl="bgAcc1" presStyleIdx="7" presStyleCnt="18">
        <dgm:presLayoutVars>
          <dgm:bulletEnabled val="1"/>
        </dgm:presLayoutVars>
      </dgm:prSet>
      <dgm:spPr/>
    </dgm:pt>
    <dgm:pt modelId="{80979D90-D88F-4CF7-BA93-BFC17396633A}" type="pres">
      <dgm:prSet presAssocID="{8CE90D3F-E840-4613-BE0A-511994D6FF74}" presName="Name13" presStyleLbl="parChTrans1D2" presStyleIdx="8" presStyleCnt="18"/>
      <dgm:spPr/>
    </dgm:pt>
    <dgm:pt modelId="{1B1D2251-5985-4561-9A3B-CB774AB6C10A}" type="pres">
      <dgm:prSet presAssocID="{E8010BB7-A6FB-4D61-8DFC-2BEBCE5ADFEC}" presName="childText" presStyleLbl="bgAcc1" presStyleIdx="8" presStyleCnt="18">
        <dgm:presLayoutVars>
          <dgm:bulletEnabled val="1"/>
        </dgm:presLayoutVars>
      </dgm:prSet>
      <dgm:spPr/>
    </dgm:pt>
    <dgm:pt modelId="{0FFE0D9F-ECBD-420A-B69B-A8F9B6C895F2}" type="pres">
      <dgm:prSet presAssocID="{8C392D19-0E1B-4A05-AC3D-C1C42861A620}" presName="root" presStyleCnt="0"/>
      <dgm:spPr/>
    </dgm:pt>
    <dgm:pt modelId="{4135A2C4-03C4-4B4E-A7AE-B92870685373}" type="pres">
      <dgm:prSet presAssocID="{8C392D19-0E1B-4A05-AC3D-C1C42861A620}" presName="rootComposite" presStyleCnt="0"/>
      <dgm:spPr/>
    </dgm:pt>
    <dgm:pt modelId="{E36063B2-2A8D-4DD2-8E54-65A28B851088}" type="pres">
      <dgm:prSet presAssocID="{8C392D19-0E1B-4A05-AC3D-C1C42861A620}" presName="rootText" presStyleLbl="node1" presStyleIdx="3" presStyleCnt="6"/>
      <dgm:spPr/>
    </dgm:pt>
    <dgm:pt modelId="{DCF789A0-167A-4F8F-93D5-5F6795EB3E05}" type="pres">
      <dgm:prSet presAssocID="{8C392D19-0E1B-4A05-AC3D-C1C42861A620}" presName="rootConnector" presStyleLbl="node1" presStyleIdx="3" presStyleCnt="6"/>
      <dgm:spPr/>
    </dgm:pt>
    <dgm:pt modelId="{0BF495B8-0392-4DBD-9569-EB1537DD349F}" type="pres">
      <dgm:prSet presAssocID="{8C392D19-0E1B-4A05-AC3D-C1C42861A620}" presName="childShape" presStyleCnt="0"/>
      <dgm:spPr/>
    </dgm:pt>
    <dgm:pt modelId="{E0BFAA3F-04F2-4F01-BAD6-E54B06B032F8}" type="pres">
      <dgm:prSet presAssocID="{23DA3111-A6C0-41A6-B086-98B9628C3D75}" presName="Name13" presStyleLbl="parChTrans1D2" presStyleIdx="9" presStyleCnt="18"/>
      <dgm:spPr/>
    </dgm:pt>
    <dgm:pt modelId="{FC789E32-55FA-4EED-A0EA-A22A53D970ED}" type="pres">
      <dgm:prSet presAssocID="{4E23663E-E92F-4D69-AD28-85AED2A2CC4A}" presName="childText" presStyleLbl="bgAcc1" presStyleIdx="9" presStyleCnt="18">
        <dgm:presLayoutVars>
          <dgm:bulletEnabled val="1"/>
        </dgm:presLayoutVars>
      </dgm:prSet>
      <dgm:spPr/>
    </dgm:pt>
    <dgm:pt modelId="{24B9C111-6465-44E7-B41C-109BBB77B307}" type="pres">
      <dgm:prSet presAssocID="{401C57AC-494A-410D-8467-8DCD88055D2F}" presName="Name13" presStyleLbl="parChTrans1D2" presStyleIdx="10" presStyleCnt="18"/>
      <dgm:spPr/>
    </dgm:pt>
    <dgm:pt modelId="{6F97E7B8-1551-437F-A82B-4C15C2C9C4D7}" type="pres">
      <dgm:prSet presAssocID="{36302E79-FD95-42D5-9653-99EA5AF8D1AE}" presName="childText" presStyleLbl="bgAcc1" presStyleIdx="10" presStyleCnt="18">
        <dgm:presLayoutVars>
          <dgm:bulletEnabled val="1"/>
        </dgm:presLayoutVars>
      </dgm:prSet>
      <dgm:spPr/>
    </dgm:pt>
    <dgm:pt modelId="{31214ADF-7B6E-4867-9ACC-3F27C51F83F8}" type="pres">
      <dgm:prSet presAssocID="{5CC8AE2A-2E23-4568-9480-9D63F0E5B6C6}" presName="root" presStyleCnt="0"/>
      <dgm:spPr/>
    </dgm:pt>
    <dgm:pt modelId="{CD7409ED-B04C-4666-8E90-D8EE3A76E537}" type="pres">
      <dgm:prSet presAssocID="{5CC8AE2A-2E23-4568-9480-9D63F0E5B6C6}" presName="rootComposite" presStyleCnt="0"/>
      <dgm:spPr/>
    </dgm:pt>
    <dgm:pt modelId="{A45DE2E7-49E3-4A8B-9514-64FAF3DB0546}" type="pres">
      <dgm:prSet presAssocID="{5CC8AE2A-2E23-4568-9480-9D63F0E5B6C6}" presName="rootText" presStyleLbl="node1" presStyleIdx="4" presStyleCnt="6"/>
      <dgm:spPr/>
    </dgm:pt>
    <dgm:pt modelId="{947C5FAE-57F3-4905-94B1-2726D3018BA1}" type="pres">
      <dgm:prSet presAssocID="{5CC8AE2A-2E23-4568-9480-9D63F0E5B6C6}" presName="rootConnector" presStyleLbl="node1" presStyleIdx="4" presStyleCnt="6"/>
      <dgm:spPr/>
    </dgm:pt>
    <dgm:pt modelId="{2342A88F-26BA-4AC9-B0A7-71C92695244F}" type="pres">
      <dgm:prSet presAssocID="{5CC8AE2A-2E23-4568-9480-9D63F0E5B6C6}" presName="childShape" presStyleCnt="0"/>
      <dgm:spPr/>
    </dgm:pt>
    <dgm:pt modelId="{22E9BBB8-A4B8-403A-8913-8A4418AC2212}" type="pres">
      <dgm:prSet presAssocID="{9897AA9D-C2E9-4D54-9ACD-B9503094E662}" presName="Name13" presStyleLbl="parChTrans1D2" presStyleIdx="11" presStyleCnt="18"/>
      <dgm:spPr/>
    </dgm:pt>
    <dgm:pt modelId="{F67537E8-143E-427C-B3E7-DE7DA246E350}" type="pres">
      <dgm:prSet presAssocID="{116236EB-1752-42E8-BE7C-18444EB1FBF3}" presName="childText" presStyleLbl="bgAcc1" presStyleIdx="11" presStyleCnt="18">
        <dgm:presLayoutVars>
          <dgm:bulletEnabled val="1"/>
        </dgm:presLayoutVars>
      </dgm:prSet>
      <dgm:spPr/>
    </dgm:pt>
    <dgm:pt modelId="{00F002B4-7587-42A0-930E-73CF9201D53D}" type="pres">
      <dgm:prSet presAssocID="{037B8520-BF2C-4D7B-8FEF-816F47FDC626}" presName="Name13" presStyleLbl="parChTrans1D2" presStyleIdx="12" presStyleCnt="18"/>
      <dgm:spPr/>
    </dgm:pt>
    <dgm:pt modelId="{1929F17E-536E-4C52-9547-B9FC3A0354F6}" type="pres">
      <dgm:prSet presAssocID="{23A0CE6F-71E2-49A4-8840-096371EAAC60}" presName="childText" presStyleLbl="bgAcc1" presStyleIdx="12" presStyleCnt="18">
        <dgm:presLayoutVars>
          <dgm:bulletEnabled val="1"/>
        </dgm:presLayoutVars>
      </dgm:prSet>
      <dgm:spPr/>
    </dgm:pt>
    <dgm:pt modelId="{512745CA-738F-4298-A7BB-FB7D3E778912}" type="pres">
      <dgm:prSet presAssocID="{F69DF16E-4C41-4922-BCA3-CF9CA73BE494}" presName="Name13" presStyleLbl="parChTrans1D2" presStyleIdx="13" presStyleCnt="18"/>
      <dgm:spPr/>
    </dgm:pt>
    <dgm:pt modelId="{01A9C905-ADCF-436E-906B-F5837ABFF454}" type="pres">
      <dgm:prSet presAssocID="{BA4C4E43-8B0C-4592-994E-E4CD03B9D53A}" presName="childText" presStyleLbl="bgAcc1" presStyleIdx="13" presStyleCnt="18">
        <dgm:presLayoutVars>
          <dgm:bulletEnabled val="1"/>
        </dgm:presLayoutVars>
      </dgm:prSet>
      <dgm:spPr/>
    </dgm:pt>
    <dgm:pt modelId="{BF5D3AEC-9D75-42FC-BBEC-F871C9581D3D}" type="pres">
      <dgm:prSet presAssocID="{975F772B-7293-4F7A-9D6D-F991D1DFC6EA}" presName="Name13" presStyleLbl="parChTrans1D2" presStyleIdx="14" presStyleCnt="18"/>
      <dgm:spPr/>
    </dgm:pt>
    <dgm:pt modelId="{80DA484E-18D3-495D-A7D6-BFEAEAC8A822}" type="pres">
      <dgm:prSet presAssocID="{2B0AB1F9-1366-4A8B-9A60-48767062373E}" presName="childText" presStyleLbl="bgAcc1" presStyleIdx="14" presStyleCnt="18">
        <dgm:presLayoutVars>
          <dgm:bulletEnabled val="1"/>
        </dgm:presLayoutVars>
      </dgm:prSet>
      <dgm:spPr/>
    </dgm:pt>
    <dgm:pt modelId="{F2844634-73A1-4B2F-B08E-48B223CDB2F9}" type="pres">
      <dgm:prSet presAssocID="{9CC2869B-A57A-48D0-BED5-5A5892C5DCDC}" presName="root" presStyleCnt="0"/>
      <dgm:spPr/>
    </dgm:pt>
    <dgm:pt modelId="{D2157447-F9F7-4053-95EF-9DDC4AACB7DB}" type="pres">
      <dgm:prSet presAssocID="{9CC2869B-A57A-48D0-BED5-5A5892C5DCDC}" presName="rootComposite" presStyleCnt="0"/>
      <dgm:spPr/>
    </dgm:pt>
    <dgm:pt modelId="{71362DF4-E699-482A-9D53-1103C398AADC}" type="pres">
      <dgm:prSet presAssocID="{9CC2869B-A57A-48D0-BED5-5A5892C5DCDC}" presName="rootText" presStyleLbl="node1" presStyleIdx="5" presStyleCnt="6"/>
      <dgm:spPr/>
    </dgm:pt>
    <dgm:pt modelId="{C28E44CE-EF58-4D7E-A723-3C98258B8251}" type="pres">
      <dgm:prSet presAssocID="{9CC2869B-A57A-48D0-BED5-5A5892C5DCDC}" presName="rootConnector" presStyleLbl="node1" presStyleIdx="5" presStyleCnt="6"/>
      <dgm:spPr/>
    </dgm:pt>
    <dgm:pt modelId="{C909CBD3-F7E3-4C78-83A0-97F4D3487DE9}" type="pres">
      <dgm:prSet presAssocID="{9CC2869B-A57A-48D0-BED5-5A5892C5DCDC}" presName="childShape" presStyleCnt="0"/>
      <dgm:spPr/>
    </dgm:pt>
    <dgm:pt modelId="{FF0774D2-F82D-42FA-8CFB-A1C6F0FD38C3}" type="pres">
      <dgm:prSet presAssocID="{DE98E60C-3F77-4C81-AEC4-59300D3C37E6}" presName="Name13" presStyleLbl="parChTrans1D2" presStyleIdx="15" presStyleCnt="18"/>
      <dgm:spPr/>
    </dgm:pt>
    <dgm:pt modelId="{127536A5-A938-48E8-AD41-392A06CB0E0A}" type="pres">
      <dgm:prSet presAssocID="{7EB6738B-DE2F-4DCA-B830-2AD139D76BB0}" presName="childText" presStyleLbl="bgAcc1" presStyleIdx="15" presStyleCnt="18">
        <dgm:presLayoutVars>
          <dgm:bulletEnabled val="1"/>
        </dgm:presLayoutVars>
      </dgm:prSet>
      <dgm:spPr/>
    </dgm:pt>
    <dgm:pt modelId="{13E405D1-B38D-4074-ACC6-FB4B9C21CACC}" type="pres">
      <dgm:prSet presAssocID="{1AA98EA4-FC16-4E8A-8BD7-F5FDB49A3E6C}" presName="Name13" presStyleLbl="parChTrans1D2" presStyleIdx="16" presStyleCnt="18"/>
      <dgm:spPr/>
    </dgm:pt>
    <dgm:pt modelId="{780F0762-EF25-4D57-9FBA-84B9BB445453}" type="pres">
      <dgm:prSet presAssocID="{16877AFD-6492-4966-BB8B-8F6A9EF132E4}" presName="childText" presStyleLbl="bgAcc1" presStyleIdx="16" presStyleCnt="18">
        <dgm:presLayoutVars>
          <dgm:bulletEnabled val="1"/>
        </dgm:presLayoutVars>
      </dgm:prSet>
      <dgm:spPr/>
    </dgm:pt>
    <dgm:pt modelId="{46197759-68DD-4911-899F-4B99378BD10E}" type="pres">
      <dgm:prSet presAssocID="{11072B69-341D-4A69-AA50-02B526AAA499}" presName="Name13" presStyleLbl="parChTrans1D2" presStyleIdx="17" presStyleCnt="18"/>
      <dgm:spPr/>
    </dgm:pt>
    <dgm:pt modelId="{5D308133-4F28-45B8-9BCC-72364E64D8D3}" type="pres">
      <dgm:prSet presAssocID="{EC4762B3-D25B-4A1B-A3E4-F5FE5310D0CA}" presName="childText" presStyleLbl="bgAcc1" presStyleIdx="17" presStyleCnt="18">
        <dgm:presLayoutVars>
          <dgm:bulletEnabled val="1"/>
        </dgm:presLayoutVars>
      </dgm:prSet>
      <dgm:spPr/>
    </dgm:pt>
  </dgm:ptLst>
  <dgm:cxnLst>
    <dgm:cxn modelId="{C011FA08-EE98-4911-B1C3-F2024C8E12BB}" type="presOf" srcId="{9897AA9D-C2E9-4D54-9ACD-B9503094E662}" destId="{22E9BBB8-A4B8-403A-8913-8A4418AC2212}" srcOrd="0" destOrd="0" presId="urn:microsoft.com/office/officeart/2005/8/layout/hierarchy3"/>
    <dgm:cxn modelId="{F907B20D-233B-42B5-8831-0A519D9F9DAD}" type="presOf" srcId="{FDC6CBE9-0160-41E8-ABD5-D20EC9E510D2}" destId="{44F4CAA2-A927-4A60-86AB-BB0547366A21}" srcOrd="0" destOrd="0" presId="urn:microsoft.com/office/officeart/2005/8/layout/hierarchy3"/>
    <dgm:cxn modelId="{BE634310-09FB-45CD-BA2E-A208A4B0DE63}" type="presOf" srcId="{C77703A0-3939-4DAA-9957-CDFF4B36430B}" destId="{97912830-6AB2-4CA0-A2DE-F8C11A29DD70}" srcOrd="0" destOrd="0" presId="urn:microsoft.com/office/officeart/2005/8/layout/hierarchy3"/>
    <dgm:cxn modelId="{FBC1AC14-B58B-475B-BB93-EA2D16FDB9BF}" type="presOf" srcId="{4AAA2233-0D0E-4F4E-94D3-5B27A23945FB}" destId="{CB98F32F-0011-40CE-AA74-30370A3DFFE4}" srcOrd="0" destOrd="0" presId="urn:microsoft.com/office/officeart/2005/8/layout/hierarchy3"/>
    <dgm:cxn modelId="{592D0C16-EF68-4952-A156-A7EB23BB0BA9}" type="presOf" srcId="{BBBB6CBD-2CC8-4868-B459-C1800FD31461}" destId="{A4CBE883-5221-4F10-96D7-3C34A3AB1330}" srcOrd="0" destOrd="0" presId="urn:microsoft.com/office/officeart/2005/8/layout/hierarchy3"/>
    <dgm:cxn modelId="{C292B81D-4ECE-4754-9C84-851DC2647ECA}" type="presOf" srcId="{8CE90D3F-E840-4613-BE0A-511994D6FF74}" destId="{80979D90-D88F-4CF7-BA93-BFC17396633A}" srcOrd="0" destOrd="0" presId="urn:microsoft.com/office/officeart/2005/8/layout/hierarchy3"/>
    <dgm:cxn modelId="{40C7A31F-312C-4D90-801C-226D10BFB327}" type="presOf" srcId="{9CC2869B-A57A-48D0-BED5-5A5892C5DCDC}" destId="{71362DF4-E699-482A-9D53-1103C398AADC}" srcOrd="0" destOrd="0" presId="urn:microsoft.com/office/officeart/2005/8/layout/hierarchy3"/>
    <dgm:cxn modelId="{0FD41D22-8532-495F-8FD8-E48118E5ECCD}" srcId="{5CC8AE2A-2E23-4568-9480-9D63F0E5B6C6}" destId="{23A0CE6F-71E2-49A4-8840-096371EAAC60}" srcOrd="1" destOrd="0" parTransId="{037B8520-BF2C-4D7B-8FEF-816F47FDC626}" sibTransId="{82139517-FFE1-4B5D-96CB-0F778D3C19CB}"/>
    <dgm:cxn modelId="{81555F23-C4FD-452A-8908-8F3645EC609F}" srcId="{4082077A-3645-4386-A35E-4FE503D07D57}" destId="{BBBB6CBD-2CC8-4868-B459-C1800FD31461}" srcOrd="1" destOrd="0" parTransId="{F1385A96-CBE7-49B0-A770-D30A45867107}" sibTransId="{599F69F0-62DA-4DC0-BDF5-909F28C93BE4}"/>
    <dgm:cxn modelId="{0FFB7129-75FA-4042-9E49-A5B3C718BFBD}" srcId="{1527D28C-D4F5-49A2-8B80-C9DB1422B043}" destId="{732B1680-7CA6-4D3A-981A-E1151A9A1471}" srcOrd="2" destOrd="0" parTransId="{71304967-3826-479B-AFD6-B41453566D85}" sibTransId="{F325A004-A185-4BEC-BAE9-19EFF7C32A12}"/>
    <dgm:cxn modelId="{19B7032C-0150-441D-B254-B6EDA588C56C}" type="presOf" srcId="{36302E79-FD95-42D5-9653-99EA5AF8D1AE}" destId="{6F97E7B8-1551-437F-A82B-4C15C2C9C4D7}" srcOrd="0" destOrd="0" presId="urn:microsoft.com/office/officeart/2005/8/layout/hierarchy3"/>
    <dgm:cxn modelId="{0E9C8C35-389D-4BFF-8BB8-89DA9D44D156}" type="presOf" srcId="{707F994A-4EA3-46FE-B6F7-0CD953009445}" destId="{0830D9BB-694E-444F-9F67-7DFD7720621C}" srcOrd="0" destOrd="0" presId="urn:microsoft.com/office/officeart/2005/8/layout/hierarchy3"/>
    <dgm:cxn modelId="{09B7B93E-8498-467A-A39F-2DE6CD90EF60}" type="presOf" srcId="{7EB6738B-DE2F-4DCA-B830-2AD139D76BB0}" destId="{127536A5-A938-48E8-AD41-392A06CB0E0A}" srcOrd="0" destOrd="0" presId="urn:microsoft.com/office/officeart/2005/8/layout/hierarchy3"/>
    <dgm:cxn modelId="{7960185C-4197-4072-99DE-7ED2ACFA6747}" type="presOf" srcId="{E8010BB7-A6FB-4D61-8DFC-2BEBCE5ADFEC}" destId="{1B1D2251-5985-4561-9A3B-CB774AB6C10A}" srcOrd="0" destOrd="0" presId="urn:microsoft.com/office/officeart/2005/8/layout/hierarchy3"/>
    <dgm:cxn modelId="{22779E63-0102-4AC6-BF99-6229813DF2CD}" srcId="{4082077A-3645-4386-A35E-4FE503D07D57}" destId="{9C60F8E2-1857-48BD-9525-91DF7C759D71}" srcOrd="0" destOrd="0" parTransId="{FD0C075E-249A-4DAE-8193-ED1C4EF57486}" sibTransId="{9D7F98AB-A6F6-4173-A238-5F0D007D4EBD}"/>
    <dgm:cxn modelId="{13F9EB63-F919-4455-B06D-8759E7932ECA}" srcId="{5CC8AE2A-2E23-4568-9480-9D63F0E5B6C6}" destId="{BA4C4E43-8B0C-4592-994E-E4CD03B9D53A}" srcOrd="2" destOrd="0" parTransId="{F69DF16E-4C41-4922-BCA3-CF9CA73BE494}" sibTransId="{FCE53D39-FCFD-4487-A2F8-24CFBCF5CA2E}"/>
    <dgm:cxn modelId="{4959B344-8DC6-46E0-A6B9-709E92E79B01}" type="presOf" srcId="{F1385A96-CBE7-49B0-A770-D30A45867107}" destId="{CE5A7ED6-DF61-4E0A-9F34-0CC5D1899C8E}" srcOrd="0" destOrd="0" presId="urn:microsoft.com/office/officeart/2005/8/layout/hierarchy3"/>
    <dgm:cxn modelId="{865B9C65-CE5A-444C-9FC7-5BF7CCD39EE6}" srcId="{FDC6CBE9-0160-41E8-ABD5-D20EC9E510D2}" destId="{171B5C84-C593-4E13-B414-F2729B658935}" srcOrd="2" destOrd="0" parTransId="{707F994A-4EA3-46FE-B6F7-0CD953009445}" sibTransId="{9E88ADA6-3323-49B0-80DA-005D570D8D31}"/>
    <dgm:cxn modelId="{467F1546-E4DA-45AE-905E-3845DA2E2010}" type="presOf" srcId="{11072B69-341D-4A69-AA50-02B526AAA499}" destId="{46197759-68DD-4911-899F-4B99378BD10E}" srcOrd="0" destOrd="0" presId="urn:microsoft.com/office/officeart/2005/8/layout/hierarchy3"/>
    <dgm:cxn modelId="{30D51A47-0724-41BE-AED2-58E0299AA3CF}" type="presOf" srcId="{116236EB-1752-42E8-BE7C-18444EB1FBF3}" destId="{F67537E8-143E-427C-B3E7-DE7DA246E350}" srcOrd="0" destOrd="0" presId="urn:microsoft.com/office/officeart/2005/8/layout/hierarchy3"/>
    <dgm:cxn modelId="{D60BA447-E51A-42A0-8EE3-44C4FF0A97EC}" type="presOf" srcId="{23DA3111-A6C0-41A6-B086-98B9628C3D75}" destId="{E0BFAA3F-04F2-4F01-BAD6-E54B06B032F8}" srcOrd="0" destOrd="0" presId="urn:microsoft.com/office/officeart/2005/8/layout/hierarchy3"/>
    <dgm:cxn modelId="{B597056C-2AC0-405C-9023-62925DA96B3D}" srcId="{78EBAAAF-B1DD-4992-9E27-11A1A38C5205}" destId="{8C392D19-0E1B-4A05-AC3D-C1C42861A620}" srcOrd="3" destOrd="0" parTransId="{648F8EEC-D1E6-4893-B796-0387C58B546D}" sibTransId="{99C468E2-282C-4EFE-B8DC-7F7440122546}"/>
    <dgm:cxn modelId="{F2E19F4D-5EF1-4E84-9FF0-CD9B0A798DE9}" type="presOf" srcId="{71304967-3826-479B-AFD6-B41453566D85}" destId="{26DE12CE-70B8-4F36-B7CB-D28279800B45}" srcOrd="0" destOrd="0" presId="urn:microsoft.com/office/officeart/2005/8/layout/hierarchy3"/>
    <dgm:cxn modelId="{11DED24D-CF5C-49FF-AB41-30B9C044F523}" srcId="{1527D28C-D4F5-49A2-8B80-C9DB1422B043}" destId="{B6B07B5E-F192-4BB0-90E8-FFC8E3A4CB6B}" srcOrd="1" destOrd="0" parTransId="{4AAA2233-0D0E-4F4E-94D3-5B27A23945FB}" sibTransId="{E49FA48C-7000-490E-99FE-E646AC510318}"/>
    <dgm:cxn modelId="{D906234F-1CDE-4A41-A4DB-7E503163F37F}" type="presOf" srcId="{9CC2869B-A57A-48D0-BED5-5A5892C5DCDC}" destId="{C28E44CE-EF58-4D7E-A723-3C98258B8251}" srcOrd="1" destOrd="0" presId="urn:microsoft.com/office/officeart/2005/8/layout/hierarchy3"/>
    <dgm:cxn modelId="{42055E72-0BF2-499A-8AD7-95912C22809A}" srcId="{FDC6CBE9-0160-41E8-ABD5-D20EC9E510D2}" destId="{8A9F3925-5C2E-4C57-BC63-83A801E1CEB3}" srcOrd="1" destOrd="0" parTransId="{1BFBBBA1-58BD-4F59-A245-9B6C7D3B3932}" sibTransId="{7EACC9C4-160F-4243-ADDA-BF1CD36D352A}"/>
    <dgm:cxn modelId="{81FB7572-428C-401B-8EFA-6756FDC08C0F}" type="presOf" srcId="{8C392D19-0E1B-4A05-AC3D-C1C42861A620}" destId="{DCF789A0-167A-4F8F-93D5-5F6795EB3E05}" srcOrd="1" destOrd="0" presId="urn:microsoft.com/office/officeart/2005/8/layout/hierarchy3"/>
    <dgm:cxn modelId="{92547773-360B-4D1A-A694-4B5F7E3F28CF}" type="presOf" srcId="{732B1680-7CA6-4D3A-981A-E1151A9A1471}" destId="{F7BD7379-C978-4D4E-99F0-2644C6E536C7}" srcOrd="0" destOrd="0" presId="urn:microsoft.com/office/officeart/2005/8/layout/hierarchy3"/>
    <dgm:cxn modelId="{C510A473-5C1C-46C4-A9FF-8CDBDEF9DFDF}" type="presOf" srcId="{4082077A-3645-4386-A35E-4FE503D07D57}" destId="{038E0CFF-9943-466C-B026-AE61C76FA085}" srcOrd="1" destOrd="0" presId="urn:microsoft.com/office/officeart/2005/8/layout/hierarchy3"/>
    <dgm:cxn modelId="{EE194175-B88B-4B3E-940E-C71DB78B8FFA}" type="presOf" srcId="{5CC8AE2A-2E23-4568-9480-9D63F0E5B6C6}" destId="{947C5FAE-57F3-4905-94B1-2726D3018BA1}" srcOrd="1" destOrd="0" presId="urn:microsoft.com/office/officeart/2005/8/layout/hierarchy3"/>
    <dgm:cxn modelId="{BEF81E76-8C9C-4A16-9BEE-CBFBE765A5AA}" type="presOf" srcId="{8A9F3925-5C2E-4C57-BC63-83A801E1CEB3}" destId="{A4F908BF-DE50-4DA6-842C-05D626F852B9}" srcOrd="0" destOrd="0" presId="urn:microsoft.com/office/officeart/2005/8/layout/hierarchy3"/>
    <dgm:cxn modelId="{AFE54259-711E-4ED1-BB4D-8D8EFA8DDF25}" type="presOf" srcId="{037B8520-BF2C-4D7B-8FEF-816F47FDC626}" destId="{00F002B4-7587-42A0-930E-73CF9201D53D}" srcOrd="0" destOrd="0" presId="urn:microsoft.com/office/officeart/2005/8/layout/hierarchy3"/>
    <dgm:cxn modelId="{4F19B559-0984-4529-90F4-430F8F3B5AE5}" srcId="{78EBAAAF-B1DD-4992-9E27-11A1A38C5205}" destId="{1527D28C-D4F5-49A2-8B80-C9DB1422B043}" srcOrd="2" destOrd="0" parTransId="{75DC2B39-114A-4C4A-8589-BA740B74F6E6}" sibTransId="{12DBDC92-DDCA-4D95-9762-4C9F3B74BDEE}"/>
    <dgm:cxn modelId="{24D4357F-4531-4F83-A58B-50412177EDE1}" type="presOf" srcId="{EC4762B3-D25B-4A1B-A3E4-F5FE5310D0CA}" destId="{5D308133-4F28-45B8-9BCC-72364E64D8D3}" srcOrd="0" destOrd="0" presId="urn:microsoft.com/office/officeart/2005/8/layout/hierarchy3"/>
    <dgm:cxn modelId="{13527681-9C35-4DA9-8910-5AED64D898F4}" srcId="{5CC8AE2A-2E23-4568-9480-9D63F0E5B6C6}" destId="{2B0AB1F9-1366-4A8B-9A60-48767062373E}" srcOrd="3" destOrd="0" parTransId="{975F772B-7293-4F7A-9D6D-F991D1DFC6EA}" sibTransId="{AC5BB608-6783-4143-897F-D4B156A744AB}"/>
    <dgm:cxn modelId="{66B5A283-6B6D-47BE-A752-4BAB228E2B40}" type="presOf" srcId="{975F772B-7293-4F7A-9D6D-F991D1DFC6EA}" destId="{BF5D3AEC-9D75-42FC-BBEC-F871C9581D3D}" srcOrd="0" destOrd="0" presId="urn:microsoft.com/office/officeart/2005/8/layout/hierarchy3"/>
    <dgm:cxn modelId="{079FBF88-9F39-4AA6-B7E6-60403EEDE2AC}" type="presOf" srcId="{1BFBBBA1-58BD-4F59-A245-9B6C7D3B3932}" destId="{EE23E60F-69E9-4449-8866-DCB9EBE3A52D}" srcOrd="0" destOrd="0" presId="urn:microsoft.com/office/officeart/2005/8/layout/hierarchy3"/>
    <dgm:cxn modelId="{E617D38B-AA58-4616-8A6B-198620033A48}" type="presOf" srcId="{9C60F8E2-1857-48BD-9525-91DF7C759D71}" destId="{0DC201C2-9EA7-4C28-B1F4-A48BEF002A72}" srcOrd="0" destOrd="0" presId="urn:microsoft.com/office/officeart/2005/8/layout/hierarchy3"/>
    <dgm:cxn modelId="{C685CF8D-F2D4-40F4-B3BA-D9A2BD2A68B4}" type="presOf" srcId="{4E23663E-E92F-4D69-AD28-85AED2A2CC4A}" destId="{FC789E32-55FA-4EED-A0EA-A22A53D970ED}" srcOrd="0" destOrd="0" presId="urn:microsoft.com/office/officeart/2005/8/layout/hierarchy3"/>
    <dgm:cxn modelId="{4823B791-DEB9-46A7-A395-115EC500FB55}" srcId="{1527D28C-D4F5-49A2-8B80-C9DB1422B043}" destId="{795D24FE-B058-426D-A831-F7CB0AA76067}" srcOrd="0" destOrd="0" parTransId="{65653036-D781-488C-8965-7A190BF30542}" sibTransId="{A2F28270-FAB7-437C-B88E-FBA4C739B5B6}"/>
    <dgm:cxn modelId="{F716E192-F654-4C7B-94AF-AED3A95FFE34}" srcId="{9CC2869B-A57A-48D0-BED5-5A5892C5DCDC}" destId="{16877AFD-6492-4966-BB8B-8F6A9EF132E4}" srcOrd="1" destOrd="0" parTransId="{1AA98EA4-FC16-4E8A-8BD7-F5FDB49A3E6C}" sibTransId="{1ABE408C-B15E-4DF1-84C3-FE016E91FD0D}"/>
    <dgm:cxn modelId="{9E964093-AEA6-446A-9D34-2249A757D246}" srcId="{8C392D19-0E1B-4A05-AC3D-C1C42861A620}" destId="{36302E79-FD95-42D5-9653-99EA5AF8D1AE}" srcOrd="1" destOrd="0" parTransId="{401C57AC-494A-410D-8467-8DCD88055D2F}" sibTransId="{A92F3AF7-102B-4C2B-9F80-F723B81038B5}"/>
    <dgm:cxn modelId="{67427594-FAEF-4F20-A949-2BD0C182D8C5}" type="presOf" srcId="{171B5C84-C593-4E13-B414-F2729B658935}" destId="{53AFE169-5265-4E75-B45B-E0F59E810A4B}" srcOrd="0" destOrd="0" presId="urn:microsoft.com/office/officeart/2005/8/layout/hierarchy3"/>
    <dgm:cxn modelId="{8E218D94-C247-47C4-B0CC-BB689D0F6199}" type="presOf" srcId="{23A0CE6F-71E2-49A4-8840-096371EAAC60}" destId="{1929F17E-536E-4C52-9547-B9FC3A0354F6}" srcOrd="0" destOrd="0" presId="urn:microsoft.com/office/officeart/2005/8/layout/hierarchy3"/>
    <dgm:cxn modelId="{245D009B-0A26-47D9-8326-B41BA1FD9BA0}" type="presOf" srcId="{8C392D19-0E1B-4A05-AC3D-C1C42861A620}" destId="{E36063B2-2A8D-4DD2-8E54-65A28B851088}" srcOrd="0" destOrd="0" presId="urn:microsoft.com/office/officeart/2005/8/layout/hierarchy3"/>
    <dgm:cxn modelId="{E87B769D-31F2-4874-9007-A3C76BA0AF9C}" srcId="{78EBAAAF-B1DD-4992-9E27-11A1A38C5205}" destId="{9CC2869B-A57A-48D0-BED5-5A5892C5DCDC}" srcOrd="5" destOrd="0" parTransId="{E9636252-9BAA-4A31-8BFE-15ACF0464C46}" sibTransId="{402F2D69-453B-4CAA-A231-5C68776B9196}"/>
    <dgm:cxn modelId="{BF772EA1-C14E-4123-B199-250E92F11F80}" type="presOf" srcId="{401C57AC-494A-410D-8467-8DCD88055D2F}" destId="{24B9C111-6465-44E7-B41C-109BBB77B307}" srcOrd="0" destOrd="0" presId="urn:microsoft.com/office/officeart/2005/8/layout/hierarchy3"/>
    <dgm:cxn modelId="{40FAF7A2-AA2E-4704-A7BE-9A84FDA907D8}" srcId="{78EBAAAF-B1DD-4992-9E27-11A1A38C5205}" destId="{FDC6CBE9-0160-41E8-ABD5-D20EC9E510D2}" srcOrd="0" destOrd="0" parTransId="{DFC0C8FF-81A2-4EE1-97FE-534668627666}" sibTransId="{5E31BC03-9AB7-4E28-A52F-07F7BE662DEB}"/>
    <dgm:cxn modelId="{935AA9A3-ED06-4A7C-A8D6-A3AAD73944DC}" srcId="{8C392D19-0E1B-4A05-AC3D-C1C42861A620}" destId="{4E23663E-E92F-4D69-AD28-85AED2A2CC4A}" srcOrd="0" destOrd="0" parTransId="{23DA3111-A6C0-41A6-B086-98B9628C3D75}" sibTransId="{C89D4151-1DBB-463E-804E-AA117615E3A6}"/>
    <dgm:cxn modelId="{1119F8A6-E413-482D-A1EE-12BBD2E3974E}" type="presOf" srcId="{FD0C075E-249A-4DAE-8193-ED1C4EF57486}" destId="{6939E272-5D38-456B-95E0-4B4CD268A321}" srcOrd="0" destOrd="0" presId="urn:microsoft.com/office/officeart/2005/8/layout/hierarchy3"/>
    <dgm:cxn modelId="{3EC81CB6-FBE2-4B5C-8F38-1ABCC5C00E5E}" type="presOf" srcId="{1527D28C-D4F5-49A2-8B80-C9DB1422B043}" destId="{36C66995-C129-4846-A543-767A64F8F5FA}" srcOrd="1" destOrd="0" presId="urn:microsoft.com/office/officeart/2005/8/layout/hierarchy3"/>
    <dgm:cxn modelId="{6ACCCDB6-7582-4DF3-BE41-E8EAFDEA1187}" srcId="{78EBAAAF-B1DD-4992-9E27-11A1A38C5205}" destId="{4082077A-3645-4386-A35E-4FE503D07D57}" srcOrd="1" destOrd="0" parTransId="{E12B3CDE-7520-414C-9C8D-337C21C32B69}" sibTransId="{A05EFDD5-4737-4A4E-9D5C-51F5EA0CEFF0}"/>
    <dgm:cxn modelId="{FF7AF7B6-4D16-43BB-BFF2-12D195353388}" srcId="{78EBAAAF-B1DD-4992-9E27-11A1A38C5205}" destId="{5CC8AE2A-2E23-4568-9480-9D63F0E5B6C6}" srcOrd="4" destOrd="0" parTransId="{F40A32DD-88FB-409E-9E5B-BF9A17170A6E}" sibTransId="{484225B9-0AF7-487F-A3E8-064610431084}"/>
    <dgm:cxn modelId="{4E34AEB8-D30E-494C-A1A2-5A51B3D2827B}" srcId="{9CC2869B-A57A-48D0-BED5-5A5892C5DCDC}" destId="{7EB6738B-DE2F-4DCA-B830-2AD139D76BB0}" srcOrd="0" destOrd="0" parTransId="{DE98E60C-3F77-4C81-AEC4-59300D3C37E6}" sibTransId="{DAD1156E-7C8B-430B-8D63-746896BE6384}"/>
    <dgm:cxn modelId="{C2FA33BA-208F-4565-BAAD-C765485E8B2B}" type="presOf" srcId="{2B0AB1F9-1366-4A8B-9A60-48767062373E}" destId="{80DA484E-18D3-495D-A7D6-BFEAEAC8A822}" srcOrd="0" destOrd="0" presId="urn:microsoft.com/office/officeart/2005/8/layout/hierarchy3"/>
    <dgm:cxn modelId="{A99C0FC1-1D7C-4B4A-9D48-C21619837752}" type="presOf" srcId="{F69DF16E-4C41-4922-BCA3-CF9CA73BE494}" destId="{512745CA-738F-4298-A7BB-FB7D3E778912}" srcOrd="0" destOrd="0" presId="urn:microsoft.com/office/officeart/2005/8/layout/hierarchy3"/>
    <dgm:cxn modelId="{693971C1-609A-4E8E-8725-C96F21B10485}" type="presOf" srcId="{78EBAAAF-B1DD-4992-9E27-11A1A38C5205}" destId="{1F29A979-D113-4394-96C5-82C37480EEED}" srcOrd="0" destOrd="0" presId="urn:microsoft.com/office/officeart/2005/8/layout/hierarchy3"/>
    <dgm:cxn modelId="{29C1CAC1-BDC6-4819-BF24-9929A91B9EF2}" type="presOf" srcId="{BA4C4E43-8B0C-4592-994E-E4CD03B9D53A}" destId="{01A9C905-ADCF-436E-906B-F5837ABFF454}" srcOrd="0" destOrd="0" presId="urn:microsoft.com/office/officeart/2005/8/layout/hierarchy3"/>
    <dgm:cxn modelId="{1F21CBDB-0DDC-4BDD-9E94-0AB90D4E5849}" type="presOf" srcId="{DE98E60C-3F77-4C81-AEC4-59300D3C37E6}" destId="{FF0774D2-F82D-42FA-8CFB-A1C6F0FD38C3}" srcOrd="0" destOrd="0" presId="urn:microsoft.com/office/officeart/2005/8/layout/hierarchy3"/>
    <dgm:cxn modelId="{B4CCE7DB-5837-4610-978F-FDFB7384673C}" srcId="{FDC6CBE9-0160-41E8-ABD5-D20EC9E510D2}" destId="{1F606DA2-E114-4236-A23E-AC23E949F492}" srcOrd="0" destOrd="0" parTransId="{C77703A0-3939-4DAA-9957-CDFF4B36430B}" sibTransId="{EFD016B9-6363-438A-A2EA-A2EBB7499987}"/>
    <dgm:cxn modelId="{EC879FDE-24F3-4038-917C-D9A105F35AC2}" type="presOf" srcId="{4082077A-3645-4386-A35E-4FE503D07D57}" destId="{DC8A42D2-8C66-465B-B760-144FFB552943}" srcOrd="0" destOrd="0" presId="urn:microsoft.com/office/officeart/2005/8/layout/hierarchy3"/>
    <dgm:cxn modelId="{1682B9E0-34E7-4AF0-BD48-535C0A8F4D36}" type="presOf" srcId="{65653036-D781-488C-8965-7A190BF30542}" destId="{2E9FF865-3F67-4274-8B82-979364F595BE}" srcOrd="0" destOrd="0" presId="urn:microsoft.com/office/officeart/2005/8/layout/hierarchy3"/>
    <dgm:cxn modelId="{5CE70CE5-E51E-40A8-A489-1AEA9BD00EE1}" type="presOf" srcId="{FDC6CBE9-0160-41E8-ABD5-D20EC9E510D2}" destId="{E02D3E0E-DCDE-4EC3-BAE3-40AC198F32F6}" srcOrd="1" destOrd="0" presId="urn:microsoft.com/office/officeart/2005/8/layout/hierarchy3"/>
    <dgm:cxn modelId="{38A1DEE6-4E33-46BA-9A9F-D83858A44DCA}" type="presOf" srcId="{795D24FE-B058-426D-A831-F7CB0AA76067}" destId="{F288BCD3-220A-4882-8B3F-63B02E039D23}" srcOrd="0" destOrd="0" presId="urn:microsoft.com/office/officeart/2005/8/layout/hierarchy3"/>
    <dgm:cxn modelId="{E52C24E9-7198-41CD-BA72-D1B18169C3EF}" type="presOf" srcId="{1527D28C-D4F5-49A2-8B80-C9DB1422B043}" destId="{AD3BB672-A78D-4464-BFF4-4922B91DFCB0}" srcOrd="0" destOrd="0" presId="urn:microsoft.com/office/officeart/2005/8/layout/hierarchy3"/>
    <dgm:cxn modelId="{F138E3F5-EBE3-4B13-B77D-5803BF4FB2EB}" type="presOf" srcId="{16877AFD-6492-4966-BB8B-8F6A9EF132E4}" destId="{780F0762-EF25-4D57-9FBA-84B9BB445453}" srcOrd="0" destOrd="0" presId="urn:microsoft.com/office/officeart/2005/8/layout/hierarchy3"/>
    <dgm:cxn modelId="{59D954F6-E521-4062-B37E-15E43C0B6B9D}" srcId="{5CC8AE2A-2E23-4568-9480-9D63F0E5B6C6}" destId="{116236EB-1752-42E8-BE7C-18444EB1FBF3}" srcOrd="0" destOrd="0" parTransId="{9897AA9D-C2E9-4D54-9ACD-B9503094E662}" sibTransId="{9ED3EC3C-E466-4A60-84EC-718AAED2461B}"/>
    <dgm:cxn modelId="{26A009FB-DFE9-4B4C-B53A-3E70C339E454}" type="presOf" srcId="{5CC8AE2A-2E23-4568-9480-9D63F0E5B6C6}" destId="{A45DE2E7-49E3-4A8B-9514-64FAF3DB0546}" srcOrd="0" destOrd="0" presId="urn:microsoft.com/office/officeart/2005/8/layout/hierarchy3"/>
    <dgm:cxn modelId="{6E0C7EFB-18F6-4AFB-AA8B-C78D3E5268EC}" srcId="{1527D28C-D4F5-49A2-8B80-C9DB1422B043}" destId="{E8010BB7-A6FB-4D61-8DFC-2BEBCE5ADFEC}" srcOrd="3" destOrd="0" parTransId="{8CE90D3F-E840-4613-BE0A-511994D6FF74}" sibTransId="{1A16F62A-1277-44EC-8A3B-FE3F56AAC1FB}"/>
    <dgm:cxn modelId="{0FFC8BFB-F678-445D-8C05-712F4C71E51F}" type="presOf" srcId="{B6B07B5E-F192-4BB0-90E8-FFC8E3A4CB6B}" destId="{74C35790-9CB4-419C-B89D-BE49258C6216}" srcOrd="0" destOrd="0" presId="urn:microsoft.com/office/officeart/2005/8/layout/hierarchy3"/>
    <dgm:cxn modelId="{748BA0FC-C788-4AE6-AFC1-0EF5DD440A72}" srcId="{9CC2869B-A57A-48D0-BED5-5A5892C5DCDC}" destId="{EC4762B3-D25B-4A1B-A3E4-F5FE5310D0CA}" srcOrd="2" destOrd="0" parTransId="{11072B69-341D-4A69-AA50-02B526AAA499}" sibTransId="{C08BD74D-C2C0-4D31-BD38-98498B43E66A}"/>
    <dgm:cxn modelId="{7FC5CAFE-4436-495F-A32B-D8E8BBE3F4CD}" type="presOf" srcId="{1F606DA2-E114-4236-A23E-AC23E949F492}" destId="{835F7225-5917-4CE4-BF8F-58032CBA9228}" srcOrd="0" destOrd="0" presId="urn:microsoft.com/office/officeart/2005/8/layout/hierarchy3"/>
    <dgm:cxn modelId="{B16516FF-4B15-4D1D-9959-BCCAA3A91253}" type="presOf" srcId="{1AA98EA4-FC16-4E8A-8BD7-F5FDB49A3E6C}" destId="{13E405D1-B38D-4074-ACC6-FB4B9C21CACC}" srcOrd="0" destOrd="0" presId="urn:microsoft.com/office/officeart/2005/8/layout/hierarchy3"/>
    <dgm:cxn modelId="{01F87582-B168-4675-8E92-DFBCBF6FF43E}" type="presParOf" srcId="{1F29A979-D113-4394-96C5-82C37480EEED}" destId="{2C5C6D9D-79BD-4D70-BD01-021639E09AA5}" srcOrd="0" destOrd="0" presId="urn:microsoft.com/office/officeart/2005/8/layout/hierarchy3"/>
    <dgm:cxn modelId="{75D0A1B2-8FEA-4A73-AF98-8104C3532C36}" type="presParOf" srcId="{2C5C6D9D-79BD-4D70-BD01-021639E09AA5}" destId="{98C2FB46-6979-4856-A602-E103E111B0B2}" srcOrd="0" destOrd="0" presId="urn:microsoft.com/office/officeart/2005/8/layout/hierarchy3"/>
    <dgm:cxn modelId="{C72F4897-4C92-4476-B3EC-EDC472D94272}" type="presParOf" srcId="{98C2FB46-6979-4856-A602-E103E111B0B2}" destId="{44F4CAA2-A927-4A60-86AB-BB0547366A21}" srcOrd="0" destOrd="0" presId="urn:microsoft.com/office/officeart/2005/8/layout/hierarchy3"/>
    <dgm:cxn modelId="{473D75B9-1133-4967-AD04-5F8B8911BE75}" type="presParOf" srcId="{98C2FB46-6979-4856-A602-E103E111B0B2}" destId="{E02D3E0E-DCDE-4EC3-BAE3-40AC198F32F6}" srcOrd="1" destOrd="0" presId="urn:microsoft.com/office/officeart/2005/8/layout/hierarchy3"/>
    <dgm:cxn modelId="{A273F23F-D5AD-433E-B7F6-62CD953EE954}" type="presParOf" srcId="{2C5C6D9D-79BD-4D70-BD01-021639E09AA5}" destId="{05130EDC-03AF-4C5E-9405-8CA73B44F65C}" srcOrd="1" destOrd="0" presId="urn:microsoft.com/office/officeart/2005/8/layout/hierarchy3"/>
    <dgm:cxn modelId="{C8BB283A-1640-4C66-833A-931911F51F2B}" type="presParOf" srcId="{05130EDC-03AF-4C5E-9405-8CA73B44F65C}" destId="{97912830-6AB2-4CA0-A2DE-F8C11A29DD70}" srcOrd="0" destOrd="0" presId="urn:microsoft.com/office/officeart/2005/8/layout/hierarchy3"/>
    <dgm:cxn modelId="{D390992E-50CF-4F3D-A320-060F703DCC2D}" type="presParOf" srcId="{05130EDC-03AF-4C5E-9405-8CA73B44F65C}" destId="{835F7225-5917-4CE4-BF8F-58032CBA9228}" srcOrd="1" destOrd="0" presId="urn:microsoft.com/office/officeart/2005/8/layout/hierarchy3"/>
    <dgm:cxn modelId="{70A3DE08-1F69-408C-8189-DE0A9785FD39}" type="presParOf" srcId="{05130EDC-03AF-4C5E-9405-8CA73B44F65C}" destId="{EE23E60F-69E9-4449-8866-DCB9EBE3A52D}" srcOrd="2" destOrd="0" presId="urn:microsoft.com/office/officeart/2005/8/layout/hierarchy3"/>
    <dgm:cxn modelId="{DE694345-EA9C-4C44-A9FD-23365ABBD823}" type="presParOf" srcId="{05130EDC-03AF-4C5E-9405-8CA73B44F65C}" destId="{A4F908BF-DE50-4DA6-842C-05D626F852B9}" srcOrd="3" destOrd="0" presId="urn:microsoft.com/office/officeart/2005/8/layout/hierarchy3"/>
    <dgm:cxn modelId="{E1C085FC-9E2A-481E-99B7-6A57B8AB9590}" type="presParOf" srcId="{05130EDC-03AF-4C5E-9405-8CA73B44F65C}" destId="{0830D9BB-694E-444F-9F67-7DFD7720621C}" srcOrd="4" destOrd="0" presId="urn:microsoft.com/office/officeart/2005/8/layout/hierarchy3"/>
    <dgm:cxn modelId="{A4A780E6-0245-478A-9F5D-0E4A1C48BC6B}" type="presParOf" srcId="{05130EDC-03AF-4C5E-9405-8CA73B44F65C}" destId="{53AFE169-5265-4E75-B45B-E0F59E810A4B}" srcOrd="5" destOrd="0" presId="urn:microsoft.com/office/officeart/2005/8/layout/hierarchy3"/>
    <dgm:cxn modelId="{FE4300FC-A071-4CDA-848E-980354A005B4}" type="presParOf" srcId="{1F29A979-D113-4394-96C5-82C37480EEED}" destId="{8047EE52-ACAD-445E-A94A-B000B7A2ECE9}" srcOrd="1" destOrd="0" presId="urn:microsoft.com/office/officeart/2005/8/layout/hierarchy3"/>
    <dgm:cxn modelId="{2179E623-9DC6-4883-A92A-8FC1C8D72467}" type="presParOf" srcId="{8047EE52-ACAD-445E-A94A-B000B7A2ECE9}" destId="{018CEE00-2CE4-4FED-A0E4-D37EB8A4F815}" srcOrd="0" destOrd="0" presId="urn:microsoft.com/office/officeart/2005/8/layout/hierarchy3"/>
    <dgm:cxn modelId="{2C1610AF-FC86-43A1-8FEB-D2FC2B192C61}" type="presParOf" srcId="{018CEE00-2CE4-4FED-A0E4-D37EB8A4F815}" destId="{DC8A42D2-8C66-465B-B760-144FFB552943}" srcOrd="0" destOrd="0" presId="urn:microsoft.com/office/officeart/2005/8/layout/hierarchy3"/>
    <dgm:cxn modelId="{C4AB3A5D-7188-4870-8BCD-1E8E9A8555EE}" type="presParOf" srcId="{018CEE00-2CE4-4FED-A0E4-D37EB8A4F815}" destId="{038E0CFF-9943-466C-B026-AE61C76FA085}" srcOrd="1" destOrd="0" presId="urn:microsoft.com/office/officeart/2005/8/layout/hierarchy3"/>
    <dgm:cxn modelId="{BC8F1A91-A626-4E85-B6D5-EE865956F652}" type="presParOf" srcId="{8047EE52-ACAD-445E-A94A-B000B7A2ECE9}" destId="{F5693781-6F16-4ABB-9EE6-F66D4FF925E1}" srcOrd="1" destOrd="0" presId="urn:microsoft.com/office/officeart/2005/8/layout/hierarchy3"/>
    <dgm:cxn modelId="{8F479E90-388E-4CC0-B00E-37D0DB2D906D}" type="presParOf" srcId="{F5693781-6F16-4ABB-9EE6-F66D4FF925E1}" destId="{6939E272-5D38-456B-95E0-4B4CD268A321}" srcOrd="0" destOrd="0" presId="urn:microsoft.com/office/officeart/2005/8/layout/hierarchy3"/>
    <dgm:cxn modelId="{A8BD963B-9404-4F33-82AC-82E408E7200A}" type="presParOf" srcId="{F5693781-6F16-4ABB-9EE6-F66D4FF925E1}" destId="{0DC201C2-9EA7-4C28-B1F4-A48BEF002A72}" srcOrd="1" destOrd="0" presId="urn:microsoft.com/office/officeart/2005/8/layout/hierarchy3"/>
    <dgm:cxn modelId="{F795BEF2-3EF1-4C07-95F8-E12E28B58838}" type="presParOf" srcId="{F5693781-6F16-4ABB-9EE6-F66D4FF925E1}" destId="{CE5A7ED6-DF61-4E0A-9F34-0CC5D1899C8E}" srcOrd="2" destOrd="0" presId="urn:microsoft.com/office/officeart/2005/8/layout/hierarchy3"/>
    <dgm:cxn modelId="{F46266B6-74A0-4B56-86F9-21664AFE1E7F}" type="presParOf" srcId="{F5693781-6F16-4ABB-9EE6-F66D4FF925E1}" destId="{A4CBE883-5221-4F10-96D7-3C34A3AB1330}" srcOrd="3" destOrd="0" presId="urn:microsoft.com/office/officeart/2005/8/layout/hierarchy3"/>
    <dgm:cxn modelId="{5E95AD45-91E9-4A78-9560-EBA6EAB7BCBC}" type="presParOf" srcId="{1F29A979-D113-4394-96C5-82C37480EEED}" destId="{C8E354CE-75A2-475A-80C3-EFAE8365861A}" srcOrd="2" destOrd="0" presId="urn:microsoft.com/office/officeart/2005/8/layout/hierarchy3"/>
    <dgm:cxn modelId="{CAB510AD-82D9-4792-BF76-E5527470CC6A}" type="presParOf" srcId="{C8E354CE-75A2-475A-80C3-EFAE8365861A}" destId="{B43CB3C5-E7BE-4DEF-BF0D-58EB6033F082}" srcOrd="0" destOrd="0" presId="urn:microsoft.com/office/officeart/2005/8/layout/hierarchy3"/>
    <dgm:cxn modelId="{54EE6119-329D-4F59-9C05-81D48D13BCE7}" type="presParOf" srcId="{B43CB3C5-E7BE-4DEF-BF0D-58EB6033F082}" destId="{AD3BB672-A78D-4464-BFF4-4922B91DFCB0}" srcOrd="0" destOrd="0" presId="urn:microsoft.com/office/officeart/2005/8/layout/hierarchy3"/>
    <dgm:cxn modelId="{A450CFCB-1083-4EB1-870E-C5F73DE49E60}" type="presParOf" srcId="{B43CB3C5-E7BE-4DEF-BF0D-58EB6033F082}" destId="{36C66995-C129-4846-A543-767A64F8F5FA}" srcOrd="1" destOrd="0" presId="urn:microsoft.com/office/officeart/2005/8/layout/hierarchy3"/>
    <dgm:cxn modelId="{A41D9B15-40D3-41AF-A290-5AFBFCB41000}" type="presParOf" srcId="{C8E354CE-75A2-475A-80C3-EFAE8365861A}" destId="{03E56F92-FDBD-483D-99C2-C0CD036D3298}" srcOrd="1" destOrd="0" presId="urn:microsoft.com/office/officeart/2005/8/layout/hierarchy3"/>
    <dgm:cxn modelId="{89856297-E59F-408E-8AB3-E7C9697EBC8E}" type="presParOf" srcId="{03E56F92-FDBD-483D-99C2-C0CD036D3298}" destId="{2E9FF865-3F67-4274-8B82-979364F595BE}" srcOrd="0" destOrd="0" presId="urn:microsoft.com/office/officeart/2005/8/layout/hierarchy3"/>
    <dgm:cxn modelId="{057A997E-EFE3-459F-83C7-8333B5ACD9A5}" type="presParOf" srcId="{03E56F92-FDBD-483D-99C2-C0CD036D3298}" destId="{F288BCD3-220A-4882-8B3F-63B02E039D23}" srcOrd="1" destOrd="0" presId="urn:microsoft.com/office/officeart/2005/8/layout/hierarchy3"/>
    <dgm:cxn modelId="{423B2F7A-E7AE-4EB0-B534-AA81C74AA489}" type="presParOf" srcId="{03E56F92-FDBD-483D-99C2-C0CD036D3298}" destId="{CB98F32F-0011-40CE-AA74-30370A3DFFE4}" srcOrd="2" destOrd="0" presId="urn:microsoft.com/office/officeart/2005/8/layout/hierarchy3"/>
    <dgm:cxn modelId="{DB02ED8C-12D4-4A7B-A454-FCC0D96971BC}" type="presParOf" srcId="{03E56F92-FDBD-483D-99C2-C0CD036D3298}" destId="{74C35790-9CB4-419C-B89D-BE49258C6216}" srcOrd="3" destOrd="0" presId="urn:microsoft.com/office/officeart/2005/8/layout/hierarchy3"/>
    <dgm:cxn modelId="{4EE182EF-C5BF-44DE-A1EA-FE65B6023852}" type="presParOf" srcId="{03E56F92-FDBD-483D-99C2-C0CD036D3298}" destId="{26DE12CE-70B8-4F36-B7CB-D28279800B45}" srcOrd="4" destOrd="0" presId="urn:microsoft.com/office/officeart/2005/8/layout/hierarchy3"/>
    <dgm:cxn modelId="{BDB5D094-20A3-4A37-B7BD-FA3186087D31}" type="presParOf" srcId="{03E56F92-FDBD-483D-99C2-C0CD036D3298}" destId="{F7BD7379-C978-4D4E-99F0-2644C6E536C7}" srcOrd="5" destOrd="0" presId="urn:microsoft.com/office/officeart/2005/8/layout/hierarchy3"/>
    <dgm:cxn modelId="{0D888EE5-2AC8-4DF3-874D-8A5F671CE519}" type="presParOf" srcId="{03E56F92-FDBD-483D-99C2-C0CD036D3298}" destId="{80979D90-D88F-4CF7-BA93-BFC17396633A}" srcOrd="6" destOrd="0" presId="urn:microsoft.com/office/officeart/2005/8/layout/hierarchy3"/>
    <dgm:cxn modelId="{12FE3D56-BDEE-4D4B-BBEB-4D33878E7AE1}" type="presParOf" srcId="{03E56F92-FDBD-483D-99C2-C0CD036D3298}" destId="{1B1D2251-5985-4561-9A3B-CB774AB6C10A}" srcOrd="7" destOrd="0" presId="urn:microsoft.com/office/officeart/2005/8/layout/hierarchy3"/>
    <dgm:cxn modelId="{6B4CAB2F-DEB0-47F3-B7E9-94572CC371F5}" type="presParOf" srcId="{1F29A979-D113-4394-96C5-82C37480EEED}" destId="{0FFE0D9F-ECBD-420A-B69B-A8F9B6C895F2}" srcOrd="3" destOrd="0" presId="urn:microsoft.com/office/officeart/2005/8/layout/hierarchy3"/>
    <dgm:cxn modelId="{9E3C4F4A-4339-4553-B484-5ECFAEFAD4B8}" type="presParOf" srcId="{0FFE0D9F-ECBD-420A-B69B-A8F9B6C895F2}" destId="{4135A2C4-03C4-4B4E-A7AE-B92870685373}" srcOrd="0" destOrd="0" presId="urn:microsoft.com/office/officeart/2005/8/layout/hierarchy3"/>
    <dgm:cxn modelId="{5EF7FEED-79C5-4221-91A2-F0B22D6BA582}" type="presParOf" srcId="{4135A2C4-03C4-4B4E-A7AE-B92870685373}" destId="{E36063B2-2A8D-4DD2-8E54-65A28B851088}" srcOrd="0" destOrd="0" presId="urn:microsoft.com/office/officeart/2005/8/layout/hierarchy3"/>
    <dgm:cxn modelId="{B18FB99F-3C78-4DF7-9D37-9CA92481CDF8}" type="presParOf" srcId="{4135A2C4-03C4-4B4E-A7AE-B92870685373}" destId="{DCF789A0-167A-4F8F-93D5-5F6795EB3E05}" srcOrd="1" destOrd="0" presId="urn:microsoft.com/office/officeart/2005/8/layout/hierarchy3"/>
    <dgm:cxn modelId="{BFE5B771-CA5D-4567-B464-44EDF698864D}" type="presParOf" srcId="{0FFE0D9F-ECBD-420A-B69B-A8F9B6C895F2}" destId="{0BF495B8-0392-4DBD-9569-EB1537DD349F}" srcOrd="1" destOrd="0" presId="urn:microsoft.com/office/officeart/2005/8/layout/hierarchy3"/>
    <dgm:cxn modelId="{ECEE8A04-4A85-4616-AAF7-2147C0CDDDDF}" type="presParOf" srcId="{0BF495B8-0392-4DBD-9569-EB1537DD349F}" destId="{E0BFAA3F-04F2-4F01-BAD6-E54B06B032F8}" srcOrd="0" destOrd="0" presId="urn:microsoft.com/office/officeart/2005/8/layout/hierarchy3"/>
    <dgm:cxn modelId="{7C3432AA-59DB-4DC6-978B-360E3FF30F92}" type="presParOf" srcId="{0BF495B8-0392-4DBD-9569-EB1537DD349F}" destId="{FC789E32-55FA-4EED-A0EA-A22A53D970ED}" srcOrd="1" destOrd="0" presId="urn:microsoft.com/office/officeart/2005/8/layout/hierarchy3"/>
    <dgm:cxn modelId="{DD2309E4-B078-4536-BF72-37E9C91F84FD}" type="presParOf" srcId="{0BF495B8-0392-4DBD-9569-EB1537DD349F}" destId="{24B9C111-6465-44E7-B41C-109BBB77B307}" srcOrd="2" destOrd="0" presId="urn:microsoft.com/office/officeart/2005/8/layout/hierarchy3"/>
    <dgm:cxn modelId="{62D70F09-0F03-4474-823B-AEDE121B241B}" type="presParOf" srcId="{0BF495B8-0392-4DBD-9569-EB1537DD349F}" destId="{6F97E7B8-1551-437F-A82B-4C15C2C9C4D7}" srcOrd="3" destOrd="0" presId="urn:microsoft.com/office/officeart/2005/8/layout/hierarchy3"/>
    <dgm:cxn modelId="{1043A2D7-E34F-4BBB-9BA5-A6A469401394}" type="presParOf" srcId="{1F29A979-D113-4394-96C5-82C37480EEED}" destId="{31214ADF-7B6E-4867-9ACC-3F27C51F83F8}" srcOrd="4" destOrd="0" presId="urn:microsoft.com/office/officeart/2005/8/layout/hierarchy3"/>
    <dgm:cxn modelId="{B6268B0D-516A-4F9F-A4C7-AFE282841B75}" type="presParOf" srcId="{31214ADF-7B6E-4867-9ACC-3F27C51F83F8}" destId="{CD7409ED-B04C-4666-8E90-D8EE3A76E537}" srcOrd="0" destOrd="0" presId="urn:microsoft.com/office/officeart/2005/8/layout/hierarchy3"/>
    <dgm:cxn modelId="{B846BF6A-CA65-4CA0-A5E4-506161555639}" type="presParOf" srcId="{CD7409ED-B04C-4666-8E90-D8EE3A76E537}" destId="{A45DE2E7-49E3-4A8B-9514-64FAF3DB0546}" srcOrd="0" destOrd="0" presId="urn:microsoft.com/office/officeart/2005/8/layout/hierarchy3"/>
    <dgm:cxn modelId="{400944D2-4BB9-43D2-8610-04AD0355C6C6}" type="presParOf" srcId="{CD7409ED-B04C-4666-8E90-D8EE3A76E537}" destId="{947C5FAE-57F3-4905-94B1-2726D3018BA1}" srcOrd="1" destOrd="0" presId="urn:microsoft.com/office/officeart/2005/8/layout/hierarchy3"/>
    <dgm:cxn modelId="{DBD30848-2786-48F4-89CF-8A6FA68939E9}" type="presParOf" srcId="{31214ADF-7B6E-4867-9ACC-3F27C51F83F8}" destId="{2342A88F-26BA-4AC9-B0A7-71C92695244F}" srcOrd="1" destOrd="0" presId="urn:microsoft.com/office/officeart/2005/8/layout/hierarchy3"/>
    <dgm:cxn modelId="{3DC3F5DE-DDE7-485E-B691-7FE4155B6672}" type="presParOf" srcId="{2342A88F-26BA-4AC9-B0A7-71C92695244F}" destId="{22E9BBB8-A4B8-403A-8913-8A4418AC2212}" srcOrd="0" destOrd="0" presId="urn:microsoft.com/office/officeart/2005/8/layout/hierarchy3"/>
    <dgm:cxn modelId="{BA199215-BEF7-4AB0-9D18-12954BCD62B3}" type="presParOf" srcId="{2342A88F-26BA-4AC9-B0A7-71C92695244F}" destId="{F67537E8-143E-427C-B3E7-DE7DA246E350}" srcOrd="1" destOrd="0" presId="urn:microsoft.com/office/officeart/2005/8/layout/hierarchy3"/>
    <dgm:cxn modelId="{6342FC18-921B-4B65-B439-7B37AD40D394}" type="presParOf" srcId="{2342A88F-26BA-4AC9-B0A7-71C92695244F}" destId="{00F002B4-7587-42A0-930E-73CF9201D53D}" srcOrd="2" destOrd="0" presId="urn:microsoft.com/office/officeart/2005/8/layout/hierarchy3"/>
    <dgm:cxn modelId="{8FD35F72-3FAE-47A6-B6A3-A4641000DDF6}" type="presParOf" srcId="{2342A88F-26BA-4AC9-B0A7-71C92695244F}" destId="{1929F17E-536E-4C52-9547-B9FC3A0354F6}" srcOrd="3" destOrd="0" presId="urn:microsoft.com/office/officeart/2005/8/layout/hierarchy3"/>
    <dgm:cxn modelId="{ABDAC138-2603-4F91-AC10-51B225861D97}" type="presParOf" srcId="{2342A88F-26BA-4AC9-B0A7-71C92695244F}" destId="{512745CA-738F-4298-A7BB-FB7D3E778912}" srcOrd="4" destOrd="0" presId="urn:microsoft.com/office/officeart/2005/8/layout/hierarchy3"/>
    <dgm:cxn modelId="{2DFEB4C4-97D9-4964-BE71-3FE82AF6E42D}" type="presParOf" srcId="{2342A88F-26BA-4AC9-B0A7-71C92695244F}" destId="{01A9C905-ADCF-436E-906B-F5837ABFF454}" srcOrd="5" destOrd="0" presId="urn:microsoft.com/office/officeart/2005/8/layout/hierarchy3"/>
    <dgm:cxn modelId="{09DE75FA-573E-4311-B081-9B8639AE9001}" type="presParOf" srcId="{2342A88F-26BA-4AC9-B0A7-71C92695244F}" destId="{BF5D3AEC-9D75-42FC-BBEC-F871C9581D3D}" srcOrd="6" destOrd="0" presId="urn:microsoft.com/office/officeart/2005/8/layout/hierarchy3"/>
    <dgm:cxn modelId="{55F8BD63-D163-4D71-864A-D3A22EECB7C0}" type="presParOf" srcId="{2342A88F-26BA-4AC9-B0A7-71C92695244F}" destId="{80DA484E-18D3-495D-A7D6-BFEAEAC8A822}" srcOrd="7" destOrd="0" presId="urn:microsoft.com/office/officeart/2005/8/layout/hierarchy3"/>
    <dgm:cxn modelId="{28104139-E15C-4CE6-BD72-FCF140E90F80}" type="presParOf" srcId="{1F29A979-D113-4394-96C5-82C37480EEED}" destId="{F2844634-73A1-4B2F-B08E-48B223CDB2F9}" srcOrd="5" destOrd="0" presId="urn:microsoft.com/office/officeart/2005/8/layout/hierarchy3"/>
    <dgm:cxn modelId="{454B3CF9-03BE-43CA-BC52-AE2DF67F8728}" type="presParOf" srcId="{F2844634-73A1-4B2F-B08E-48B223CDB2F9}" destId="{D2157447-F9F7-4053-95EF-9DDC4AACB7DB}" srcOrd="0" destOrd="0" presId="urn:microsoft.com/office/officeart/2005/8/layout/hierarchy3"/>
    <dgm:cxn modelId="{3085F0C5-3DC1-4E88-BE06-5B88A9E155D6}" type="presParOf" srcId="{D2157447-F9F7-4053-95EF-9DDC4AACB7DB}" destId="{71362DF4-E699-482A-9D53-1103C398AADC}" srcOrd="0" destOrd="0" presId="urn:microsoft.com/office/officeart/2005/8/layout/hierarchy3"/>
    <dgm:cxn modelId="{96D0A3E1-F046-4D52-8838-609D526CEBBB}" type="presParOf" srcId="{D2157447-F9F7-4053-95EF-9DDC4AACB7DB}" destId="{C28E44CE-EF58-4D7E-A723-3C98258B8251}" srcOrd="1" destOrd="0" presId="urn:microsoft.com/office/officeart/2005/8/layout/hierarchy3"/>
    <dgm:cxn modelId="{AF92B801-907C-4EE0-9CFF-0176B0952394}" type="presParOf" srcId="{F2844634-73A1-4B2F-B08E-48B223CDB2F9}" destId="{C909CBD3-F7E3-4C78-83A0-97F4D3487DE9}" srcOrd="1" destOrd="0" presId="urn:microsoft.com/office/officeart/2005/8/layout/hierarchy3"/>
    <dgm:cxn modelId="{4A897FEB-8230-46EA-9787-E04AAD763FAB}" type="presParOf" srcId="{C909CBD3-F7E3-4C78-83A0-97F4D3487DE9}" destId="{FF0774D2-F82D-42FA-8CFB-A1C6F0FD38C3}" srcOrd="0" destOrd="0" presId="urn:microsoft.com/office/officeart/2005/8/layout/hierarchy3"/>
    <dgm:cxn modelId="{9FD36FA3-5588-43A1-8313-9596868A623D}" type="presParOf" srcId="{C909CBD3-F7E3-4C78-83A0-97F4D3487DE9}" destId="{127536A5-A938-48E8-AD41-392A06CB0E0A}" srcOrd="1" destOrd="0" presId="urn:microsoft.com/office/officeart/2005/8/layout/hierarchy3"/>
    <dgm:cxn modelId="{BBE7B037-2673-485C-9845-4562E73980CD}" type="presParOf" srcId="{C909CBD3-F7E3-4C78-83A0-97F4D3487DE9}" destId="{13E405D1-B38D-4074-ACC6-FB4B9C21CACC}" srcOrd="2" destOrd="0" presId="urn:microsoft.com/office/officeart/2005/8/layout/hierarchy3"/>
    <dgm:cxn modelId="{479BEAAC-E2A0-49AE-80E8-C394E35AB2A4}" type="presParOf" srcId="{C909CBD3-F7E3-4C78-83A0-97F4D3487DE9}" destId="{780F0762-EF25-4D57-9FBA-84B9BB445453}" srcOrd="3" destOrd="0" presId="urn:microsoft.com/office/officeart/2005/8/layout/hierarchy3"/>
    <dgm:cxn modelId="{6DA20427-4936-4216-8B40-D90B2115BE59}" type="presParOf" srcId="{C909CBD3-F7E3-4C78-83A0-97F4D3487DE9}" destId="{46197759-68DD-4911-899F-4B99378BD10E}" srcOrd="4" destOrd="0" presId="urn:microsoft.com/office/officeart/2005/8/layout/hierarchy3"/>
    <dgm:cxn modelId="{7B7EFE05-880F-4A87-9CC7-4A15066567BE}" type="presParOf" srcId="{C909CBD3-F7E3-4C78-83A0-97F4D3487DE9}" destId="{5D308133-4F28-45B8-9BCC-72364E64D8D3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9F85282-C876-4EE8-9509-493D71777AC6}" type="doc">
      <dgm:prSet loTypeId="urn:microsoft.com/office/officeart/2005/8/layout/default" loCatId="list" qsTypeId="urn:microsoft.com/office/officeart/2005/8/quickstyle/simple2" qsCatId="simple" csTypeId="urn:microsoft.com/office/officeart/2005/8/colors/accent3_1" csCatId="accent3" phldr="1"/>
      <dgm:spPr/>
      <dgm:t>
        <a:bodyPr/>
        <a:lstStyle/>
        <a:p>
          <a:endParaRPr lang="en-US"/>
        </a:p>
      </dgm:t>
    </dgm:pt>
    <dgm:pt modelId="{BAF29761-9B7D-4085-B248-EA3C657142A8}">
      <dgm:prSet phldrT="[Text]"/>
      <dgm:spPr/>
      <dgm:t>
        <a:bodyPr/>
        <a:lstStyle/>
        <a:p>
          <a:r>
            <a:rPr lang="el-GR" i="1" dirty="0"/>
            <a:t>Αυστηρές κυρώσεις</a:t>
          </a:r>
          <a:endParaRPr lang="en-US" i="1" dirty="0"/>
        </a:p>
      </dgm:t>
    </dgm:pt>
    <dgm:pt modelId="{3CDC8253-8125-4C1C-8438-816B23869A59}" type="parTrans" cxnId="{90D1917A-FB94-4964-BF8A-8C9523346EF3}">
      <dgm:prSet/>
      <dgm:spPr/>
      <dgm:t>
        <a:bodyPr/>
        <a:lstStyle/>
        <a:p>
          <a:endParaRPr lang="en-US" i="1"/>
        </a:p>
      </dgm:t>
    </dgm:pt>
    <dgm:pt modelId="{B768A140-A849-4C0F-A770-8953565D6FA8}" type="sibTrans" cxnId="{90D1917A-FB94-4964-BF8A-8C9523346EF3}">
      <dgm:prSet/>
      <dgm:spPr/>
      <dgm:t>
        <a:bodyPr/>
        <a:lstStyle/>
        <a:p>
          <a:endParaRPr lang="en-US" i="1"/>
        </a:p>
      </dgm:t>
    </dgm:pt>
    <dgm:pt modelId="{91C86ABC-55B2-417F-8095-10B65461BC73}">
      <dgm:prSet phldrT="[Text]"/>
      <dgm:spPr/>
      <dgm:t>
        <a:bodyPr/>
        <a:lstStyle/>
        <a:p>
          <a:r>
            <a:rPr lang="el-GR" i="1" dirty="0"/>
            <a:t>Διαφάνεια &amp; ενημέρωση των πολιτών</a:t>
          </a:r>
          <a:endParaRPr lang="en-US" i="1" dirty="0"/>
        </a:p>
      </dgm:t>
    </dgm:pt>
    <dgm:pt modelId="{62946B29-807B-4E6B-BBC0-D35C758F642A}" type="parTrans" cxnId="{713F42CA-23C2-482D-A585-D9BEF9A49E9F}">
      <dgm:prSet/>
      <dgm:spPr/>
      <dgm:t>
        <a:bodyPr/>
        <a:lstStyle/>
        <a:p>
          <a:endParaRPr lang="en-US" i="1"/>
        </a:p>
      </dgm:t>
    </dgm:pt>
    <dgm:pt modelId="{9C3C9953-CD3C-4EEE-984F-5066410ABE38}" type="sibTrans" cxnId="{713F42CA-23C2-482D-A585-D9BEF9A49E9F}">
      <dgm:prSet/>
      <dgm:spPr/>
      <dgm:t>
        <a:bodyPr/>
        <a:lstStyle/>
        <a:p>
          <a:endParaRPr lang="en-US" i="1"/>
        </a:p>
      </dgm:t>
    </dgm:pt>
    <dgm:pt modelId="{EAC6F102-DF7E-4D89-AD3A-DAB68ED2984B}">
      <dgm:prSet phldrT="[Text]"/>
      <dgm:spPr/>
      <dgm:t>
        <a:bodyPr/>
        <a:lstStyle/>
        <a:p>
          <a:r>
            <a:rPr lang="el-GR" i="1" dirty="0"/>
            <a:t>Συνεχής επικοινωνία, εκπαίδευση και συνεργασία με τους επαγγελματίες υγείας</a:t>
          </a:r>
          <a:endParaRPr lang="en-US" i="1" dirty="0"/>
        </a:p>
      </dgm:t>
    </dgm:pt>
    <dgm:pt modelId="{2F1AE8AF-1712-460E-9056-9B08BCB83C11}" type="parTrans" cxnId="{D6EE88C6-35ED-4993-B1E9-1CF6D28E0592}">
      <dgm:prSet/>
      <dgm:spPr/>
      <dgm:t>
        <a:bodyPr/>
        <a:lstStyle/>
        <a:p>
          <a:endParaRPr lang="en-US" i="1"/>
        </a:p>
      </dgm:t>
    </dgm:pt>
    <dgm:pt modelId="{154D0A77-7A64-41A1-B32F-DDAC6BE2B88D}" type="sibTrans" cxnId="{D6EE88C6-35ED-4993-B1E9-1CF6D28E0592}">
      <dgm:prSet/>
      <dgm:spPr/>
      <dgm:t>
        <a:bodyPr/>
        <a:lstStyle/>
        <a:p>
          <a:endParaRPr lang="en-US" i="1"/>
        </a:p>
      </dgm:t>
    </dgm:pt>
    <dgm:pt modelId="{EE8D3267-CE28-45DA-866D-C02682C8448E}">
      <dgm:prSet/>
      <dgm:spPr/>
      <dgm:t>
        <a:bodyPr/>
        <a:lstStyle/>
        <a:p>
          <a:r>
            <a:rPr lang="el-GR" i="1" dirty="0"/>
            <a:t>Τακτικοί έλεγχοι και επιθεωρήσεις</a:t>
          </a:r>
          <a:endParaRPr lang="en-US" i="1" dirty="0"/>
        </a:p>
      </dgm:t>
    </dgm:pt>
    <dgm:pt modelId="{D96D936B-53F6-4DAF-BE46-7254F6919211}" type="parTrans" cxnId="{1D06429E-8611-4320-8B55-62C26EB6A851}">
      <dgm:prSet/>
      <dgm:spPr/>
      <dgm:t>
        <a:bodyPr/>
        <a:lstStyle/>
        <a:p>
          <a:endParaRPr lang="en-US" i="1"/>
        </a:p>
      </dgm:t>
    </dgm:pt>
    <dgm:pt modelId="{044ED05E-DAD2-4EDA-AE06-C7621C64DD83}" type="sibTrans" cxnId="{1D06429E-8611-4320-8B55-62C26EB6A851}">
      <dgm:prSet/>
      <dgm:spPr/>
      <dgm:t>
        <a:bodyPr/>
        <a:lstStyle/>
        <a:p>
          <a:endParaRPr lang="en-US" i="1"/>
        </a:p>
      </dgm:t>
    </dgm:pt>
    <dgm:pt modelId="{637E892F-0439-460C-A25C-ED84897824E3}">
      <dgm:prSet/>
      <dgm:spPr/>
      <dgm:t>
        <a:bodyPr/>
        <a:lstStyle/>
        <a:p>
          <a:r>
            <a:rPr lang="el-GR" i="1" dirty="0"/>
            <a:t>Τεκμηριωμένη λήψη αποφάσεων</a:t>
          </a:r>
          <a:endParaRPr lang="en-US" i="1" dirty="0"/>
        </a:p>
      </dgm:t>
    </dgm:pt>
    <dgm:pt modelId="{86B387C0-0A28-4330-B83B-53A6DFAA9448}" type="parTrans" cxnId="{AF715192-0468-4920-BBBC-1208551DCEFA}">
      <dgm:prSet/>
      <dgm:spPr/>
      <dgm:t>
        <a:bodyPr/>
        <a:lstStyle/>
        <a:p>
          <a:endParaRPr lang="en-US" i="1"/>
        </a:p>
      </dgm:t>
    </dgm:pt>
    <dgm:pt modelId="{F936346D-B4DA-4416-B641-147ACAF27785}" type="sibTrans" cxnId="{AF715192-0468-4920-BBBC-1208551DCEFA}">
      <dgm:prSet/>
      <dgm:spPr/>
      <dgm:t>
        <a:bodyPr/>
        <a:lstStyle/>
        <a:p>
          <a:endParaRPr lang="en-US" i="1"/>
        </a:p>
      </dgm:t>
    </dgm:pt>
    <dgm:pt modelId="{F8BFD373-FE22-4223-A2E6-D8496DB62278}" type="pres">
      <dgm:prSet presAssocID="{49F85282-C876-4EE8-9509-493D71777AC6}" presName="diagram" presStyleCnt="0">
        <dgm:presLayoutVars>
          <dgm:dir/>
          <dgm:resizeHandles val="exact"/>
        </dgm:presLayoutVars>
      </dgm:prSet>
      <dgm:spPr/>
    </dgm:pt>
    <dgm:pt modelId="{3DC8D9CA-E0F1-4AA7-882B-821FE6A27FAB}" type="pres">
      <dgm:prSet presAssocID="{637E892F-0439-460C-A25C-ED84897824E3}" presName="node" presStyleLbl="node1" presStyleIdx="0" presStyleCnt="5">
        <dgm:presLayoutVars>
          <dgm:bulletEnabled val="1"/>
        </dgm:presLayoutVars>
      </dgm:prSet>
      <dgm:spPr/>
    </dgm:pt>
    <dgm:pt modelId="{44E00733-6A32-4F7B-861A-56AE0E96446B}" type="pres">
      <dgm:prSet presAssocID="{F936346D-B4DA-4416-B641-147ACAF27785}" presName="sibTrans" presStyleCnt="0"/>
      <dgm:spPr/>
    </dgm:pt>
    <dgm:pt modelId="{BCC56E89-54BE-4985-A6DA-0C7EBF7144D6}" type="pres">
      <dgm:prSet presAssocID="{EE8D3267-CE28-45DA-866D-C02682C8448E}" presName="node" presStyleLbl="node1" presStyleIdx="1" presStyleCnt="5">
        <dgm:presLayoutVars>
          <dgm:bulletEnabled val="1"/>
        </dgm:presLayoutVars>
      </dgm:prSet>
      <dgm:spPr/>
    </dgm:pt>
    <dgm:pt modelId="{B8268E85-7ADB-4C85-A825-4E47B7EF7747}" type="pres">
      <dgm:prSet presAssocID="{044ED05E-DAD2-4EDA-AE06-C7621C64DD83}" presName="sibTrans" presStyleCnt="0"/>
      <dgm:spPr/>
    </dgm:pt>
    <dgm:pt modelId="{23D144FA-2977-4BAD-8F18-77BB25CE1DF2}" type="pres">
      <dgm:prSet presAssocID="{BAF29761-9B7D-4085-B248-EA3C657142A8}" presName="node" presStyleLbl="node1" presStyleIdx="2" presStyleCnt="5">
        <dgm:presLayoutVars>
          <dgm:bulletEnabled val="1"/>
        </dgm:presLayoutVars>
      </dgm:prSet>
      <dgm:spPr/>
    </dgm:pt>
    <dgm:pt modelId="{C678374A-6853-4A6B-A968-2FEBA68B7C8E}" type="pres">
      <dgm:prSet presAssocID="{B768A140-A849-4C0F-A770-8953565D6FA8}" presName="sibTrans" presStyleCnt="0"/>
      <dgm:spPr/>
    </dgm:pt>
    <dgm:pt modelId="{C613C89F-9707-4FF4-9ECF-DCE6CD4DE077}" type="pres">
      <dgm:prSet presAssocID="{91C86ABC-55B2-417F-8095-10B65461BC73}" presName="node" presStyleLbl="node1" presStyleIdx="3" presStyleCnt="5">
        <dgm:presLayoutVars>
          <dgm:bulletEnabled val="1"/>
        </dgm:presLayoutVars>
      </dgm:prSet>
      <dgm:spPr/>
    </dgm:pt>
    <dgm:pt modelId="{C7E660CA-D481-4469-AC0C-BA7615D39A63}" type="pres">
      <dgm:prSet presAssocID="{9C3C9953-CD3C-4EEE-984F-5066410ABE38}" presName="sibTrans" presStyleCnt="0"/>
      <dgm:spPr/>
    </dgm:pt>
    <dgm:pt modelId="{7BA60132-0FBC-4FAF-B500-F398DA8F98BA}" type="pres">
      <dgm:prSet presAssocID="{EAC6F102-DF7E-4D89-AD3A-DAB68ED2984B}" presName="node" presStyleLbl="node1" presStyleIdx="4" presStyleCnt="5">
        <dgm:presLayoutVars>
          <dgm:bulletEnabled val="1"/>
        </dgm:presLayoutVars>
      </dgm:prSet>
      <dgm:spPr/>
    </dgm:pt>
  </dgm:ptLst>
  <dgm:cxnLst>
    <dgm:cxn modelId="{B3CF9D22-9BD1-4465-892B-F0A317281075}" type="presOf" srcId="{49F85282-C876-4EE8-9509-493D71777AC6}" destId="{F8BFD373-FE22-4223-A2E6-D8496DB62278}" srcOrd="0" destOrd="0" presId="urn:microsoft.com/office/officeart/2005/8/layout/default"/>
    <dgm:cxn modelId="{90D1917A-FB94-4964-BF8A-8C9523346EF3}" srcId="{49F85282-C876-4EE8-9509-493D71777AC6}" destId="{BAF29761-9B7D-4085-B248-EA3C657142A8}" srcOrd="2" destOrd="0" parTransId="{3CDC8253-8125-4C1C-8438-816B23869A59}" sibTransId="{B768A140-A849-4C0F-A770-8953565D6FA8}"/>
    <dgm:cxn modelId="{AF715192-0468-4920-BBBC-1208551DCEFA}" srcId="{49F85282-C876-4EE8-9509-493D71777AC6}" destId="{637E892F-0439-460C-A25C-ED84897824E3}" srcOrd="0" destOrd="0" parTransId="{86B387C0-0A28-4330-B83B-53A6DFAA9448}" sibTransId="{F936346D-B4DA-4416-B641-147ACAF27785}"/>
    <dgm:cxn modelId="{1D06429E-8611-4320-8B55-62C26EB6A851}" srcId="{49F85282-C876-4EE8-9509-493D71777AC6}" destId="{EE8D3267-CE28-45DA-866D-C02682C8448E}" srcOrd="1" destOrd="0" parTransId="{D96D936B-53F6-4DAF-BE46-7254F6919211}" sibTransId="{044ED05E-DAD2-4EDA-AE06-C7621C64DD83}"/>
    <dgm:cxn modelId="{FE404BB6-B758-4CB9-9775-97AD11815D79}" type="presOf" srcId="{EE8D3267-CE28-45DA-866D-C02682C8448E}" destId="{BCC56E89-54BE-4985-A6DA-0C7EBF7144D6}" srcOrd="0" destOrd="0" presId="urn:microsoft.com/office/officeart/2005/8/layout/default"/>
    <dgm:cxn modelId="{7930B6B6-2D7F-4729-B52B-D0F285A790F1}" type="presOf" srcId="{EAC6F102-DF7E-4D89-AD3A-DAB68ED2984B}" destId="{7BA60132-0FBC-4FAF-B500-F398DA8F98BA}" srcOrd="0" destOrd="0" presId="urn:microsoft.com/office/officeart/2005/8/layout/default"/>
    <dgm:cxn modelId="{104653C0-5B60-4E3A-A8A5-F62517A7F43D}" type="presOf" srcId="{637E892F-0439-460C-A25C-ED84897824E3}" destId="{3DC8D9CA-E0F1-4AA7-882B-821FE6A27FAB}" srcOrd="0" destOrd="0" presId="urn:microsoft.com/office/officeart/2005/8/layout/default"/>
    <dgm:cxn modelId="{D6EE88C6-35ED-4993-B1E9-1CF6D28E0592}" srcId="{49F85282-C876-4EE8-9509-493D71777AC6}" destId="{EAC6F102-DF7E-4D89-AD3A-DAB68ED2984B}" srcOrd="4" destOrd="0" parTransId="{2F1AE8AF-1712-460E-9056-9B08BCB83C11}" sibTransId="{154D0A77-7A64-41A1-B32F-DDAC6BE2B88D}"/>
    <dgm:cxn modelId="{713F42CA-23C2-482D-A585-D9BEF9A49E9F}" srcId="{49F85282-C876-4EE8-9509-493D71777AC6}" destId="{91C86ABC-55B2-417F-8095-10B65461BC73}" srcOrd="3" destOrd="0" parTransId="{62946B29-807B-4E6B-BBC0-D35C758F642A}" sibTransId="{9C3C9953-CD3C-4EEE-984F-5066410ABE38}"/>
    <dgm:cxn modelId="{5B662CD3-804E-4737-AF0F-5A98DB6D76A3}" type="presOf" srcId="{BAF29761-9B7D-4085-B248-EA3C657142A8}" destId="{23D144FA-2977-4BAD-8F18-77BB25CE1DF2}" srcOrd="0" destOrd="0" presId="urn:microsoft.com/office/officeart/2005/8/layout/default"/>
    <dgm:cxn modelId="{BAA1E1EA-CD2D-472F-9C32-1D2028204441}" type="presOf" srcId="{91C86ABC-55B2-417F-8095-10B65461BC73}" destId="{C613C89F-9707-4FF4-9ECF-DCE6CD4DE077}" srcOrd="0" destOrd="0" presId="urn:microsoft.com/office/officeart/2005/8/layout/default"/>
    <dgm:cxn modelId="{E1C4647F-9E03-4557-975E-F4CFE37025DA}" type="presParOf" srcId="{F8BFD373-FE22-4223-A2E6-D8496DB62278}" destId="{3DC8D9CA-E0F1-4AA7-882B-821FE6A27FAB}" srcOrd="0" destOrd="0" presId="urn:microsoft.com/office/officeart/2005/8/layout/default"/>
    <dgm:cxn modelId="{01BA28A9-C4CE-4A12-9E98-C6848C5383EB}" type="presParOf" srcId="{F8BFD373-FE22-4223-A2E6-D8496DB62278}" destId="{44E00733-6A32-4F7B-861A-56AE0E96446B}" srcOrd="1" destOrd="0" presId="urn:microsoft.com/office/officeart/2005/8/layout/default"/>
    <dgm:cxn modelId="{CE325893-F59A-4329-8166-3DB587F39E2B}" type="presParOf" srcId="{F8BFD373-FE22-4223-A2E6-D8496DB62278}" destId="{BCC56E89-54BE-4985-A6DA-0C7EBF7144D6}" srcOrd="2" destOrd="0" presId="urn:microsoft.com/office/officeart/2005/8/layout/default"/>
    <dgm:cxn modelId="{6120CEA3-F268-418E-BB4B-A7C736F9255A}" type="presParOf" srcId="{F8BFD373-FE22-4223-A2E6-D8496DB62278}" destId="{B8268E85-7ADB-4C85-A825-4E47B7EF7747}" srcOrd="3" destOrd="0" presId="urn:microsoft.com/office/officeart/2005/8/layout/default"/>
    <dgm:cxn modelId="{BD03A82D-93AB-4F11-ABCE-CE7D0714C00A}" type="presParOf" srcId="{F8BFD373-FE22-4223-A2E6-D8496DB62278}" destId="{23D144FA-2977-4BAD-8F18-77BB25CE1DF2}" srcOrd="4" destOrd="0" presId="urn:microsoft.com/office/officeart/2005/8/layout/default"/>
    <dgm:cxn modelId="{536A0B15-6DC8-4AA8-A1C2-07C9C2D1A0D1}" type="presParOf" srcId="{F8BFD373-FE22-4223-A2E6-D8496DB62278}" destId="{C678374A-6853-4A6B-A968-2FEBA68B7C8E}" srcOrd="5" destOrd="0" presId="urn:microsoft.com/office/officeart/2005/8/layout/default"/>
    <dgm:cxn modelId="{DC81E2EE-E12F-40EF-8169-77220DA9CA7C}" type="presParOf" srcId="{F8BFD373-FE22-4223-A2E6-D8496DB62278}" destId="{C613C89F-9707-4FF4-9ECF-DCE6CD4DE077}" srcOrd="6" destOrd="0" presId="urn:microsoft.com/office/officeart/2005/8/layout/default"/>
    <dgm:cxn modelId="{140BFDA8-2D7C-431A-8140-3615234381E3}" type="presParOf" srcId="{F8BFD373-FE22-4223-A2E6-D8496DB62278}" destId="{C7E660CA-D481-4469-AC0C-BA7615D39A63}" srcOrd="7" destOrd="0" presId="urn:microsoft.com/office/officeart/2005/8/layout/default"/>
    <dgm:cxn modelId="{F84CD931-82CA-4680-A30D-D509DC2A42D4}" type="presParOf" srcId="{F8BFD373-FE22-4223-A2E6-D8496DB62278}" destId="{7BA60132-0FBC-4FAF-B500-F398DA8F98BA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4F4CAA2-A927-4A60-86AB-BB0547366A21}">
      <dsp:nvSpPr>
        <dsp:cNvPr id="0" name=""/>
        <dsp:cNvSpPr/>
      </dsp:nvSpPr>
      <dsp:spPr>
        <a:xfrm>
          <a:off x="9830" y="333068"/>
          <a:ext cx="1584176" cy="79208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700" kern="1200" dirty="0"/>
            <a:t>Στοιχεία για τη συνταγή</a:t>
          </a:r>
          <a:endParaRPr lang="en-US" sz="1700" kern="1200" dirty="0"/>
        </a:p>
      </dsp:txBody>
      <dsp:txXfrm>
        <a:off x="33029" y="356267"/>
        <a:ext cx="1537778" cy="745690"/>
      </dsp:txXfrm>
    </dsp:sp>
    <dsp:sp modelId="{97912830-6AB2-4CA0-A2DE-F8C11A29DD70}">
      <dsp:nvSpPr>
        <dsp:cNvPr id="0" name=""/>
        <dsp:cNvSpPr/>
      </dsp:nvSpPr>
      <dsp:spPr>
        <a:xfrm>
          <a:off x="168248" y="1125156"/>
          <a:ext cx="158417" cy="59406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94066"/>
              </a:lnTo>
              <a:lnTo>
                <a:pt x="158417" y="59406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35F7225-5917-4CE4-BF8F-58032CBA9228}">
      <dsp:nvSpPr>
        <dsp:cNvPr id="0" name=""/>
        <dsp:cNvSpPr/>
      </dsp:nvSpPr>
      <dsp:spPr>
        <a:xfrm>
          <a:off x="326666" y="1323178"/>
          <a:ext cx="1267341" cy="79208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000" kern="1200" dirty="0"/>
            <a:t>Επανάληψη συνταγής</a:t>
          </a:r>
          <a:endParaRPr lang="en-US" sz="1000" kern="1200" dirty="0"/>
        </a:p>
      </dsp:txBody>
      <dsp:txXfrm>
        <a:off x="349865" y="1346377"/>
        <a:ext cx="1220943" cy="745690"/>
      </dsp:txXfrm>
    </dsp:sp>
    <dsp:sp modelId="{EE23E60F-69E9-4449-8866-DCB9EBE3A52D}">
      <dsp:nvSpPr>
        <dsp:cNvPr id="0" name=""/>
        <dsp:cNvSpPr/>
      </dsp:nvSpPr>
      <dsp:spPr>
        <a:xfrm>
          <a:off x="168248" y="1125156"/>
          <a:ext cx="158417" cy="158417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84176"/>
              </a:lnTo>
              <a:lnTo>
                <a:pt x="158417" y="158417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4F908BF-DE50-4DA6-842C-05D626F852B9}">
      <dsp:nvSpPr>
        <dsp:cNvPr id="0" name=""/>
        <dsp:cNvSpPr/>
      </dsp:nvSpPr>
      <dsp:spPr>
        <a:xfrm>
          <a:off x="326666" y="2313289"/>
          <a:ext cx="1267341" cy="79208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000" kern="1200" dirty="0"/>
            <a:t>Κωδικός και ημερομηνία συνταγής (καταχώρησης και εκτέλεσης)</a:t>
          </a:r>
          <a:endParaRPr lang="en-US" sz="1000" kern="1200" dirty="0"/>
        </a:p>
      </dsp:txBody>
      <dsp:txXfrm>
        <a:off x="349865" y="2336488"/>
        <a:ext cx="1220943" cy="745690"/>
      </dsp:txXfrm>
    </dsp:sp>
    <dsp:sp modelId="{0830D9BB-694E-444F-9F67-7DFD7720621C}">
      <dsp:nvSpPr>
        <dsp:cNvPr id="0" name=""/>
        <dsp:cNvSpPr/>
      </dsp:nvSpPr>
      <dsp:spPr>
        <a:xfrm>
          <a:off x="168248" y="1125156"/>
          <a:ext cx="158417" cy="257428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74287"/>
              </a:lnTo>
              <a:lnTo>
                <a:pt x="158417" y="257428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3AFE169-5265-4E75-B45B-E0F59E810A4B}">
      <dsp:nvSpPr>
        <dsp:cNvPr id="0" name=""/>
        <dsp:cNvSpPr/>
      </dsp:nvSpPr>
      <dsp:spPr>
        <a:xfrm>
          <a:off x="326666" y="3303399"/>
          <a:ext cx="1267341" cy="79208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000" kern="1200" dirty="0"/>
            <a:t>Κατάσταση συνταγής</a:t>
          </a:r>
          <a:endParaRPr lang="en-US" sz="1000" kern="1200" dirty="0"/>
        </a:p>
      </dsp:txBody>
      <dsp:txXfrm>
        <a:off x="349865" y="3326598"/>
        <a:ext cx="1220943" cy="745690"/>
      </dsp:txXfrm>
    </dsp:sp>
    <dsp:sp modelId="{DC8A42D2-8C66-465B-B760-144FFB552943}">
      <dsp:nvSpPr>
        <dsp:cNvPr id="0" name=""/>
        <dsp:cNvSpPr/>
      </dsp:nvSpPr>
      <dsp:spPr>
        <a:xfrm>
          <a:off x="1990052" y="333068"/>
          <a:ext cx="1584176" cy="79208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700" kern="1200" dirty="0"/>
            <a:t>Στοιχεία ασθενούς</a:t>
          </a:r>
          <a:endParaRPr lang="en-US" sz="1700" kern="1200" dirty="0"/>
        </a:p>
      </dsp:txBody>
      <dsp:txXfrm>
        <a:off x="2013251" y="356267"/>
        <a:ext cx="1537778" cy="745690"/>
      </dsp:txXfrm>
    </dsp:sp>
    <dsp:sp modelId="{6939E272-5D38-456B-95E0-4B4CD268A321}">
      <dsp:nvSpPr>
        <dsp:cNvPr id="0" name=""/>
        <dsp:cNvSpPr/>
      </dsp:nvSpPr>
      <dsp:spPr>
        <a:xfrm>
          <a:off x="2148469" y="1125156"/>
          <a:ext cx="158417" cy="59406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94066"/>
              </a:lnTo>
              <a:lnTo>
                <a:pt x="158417" y="59406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C201C2-9EA7-4C28-B1F4-A48BEF002A72}">
      <dsp:nvSpPr>
        <dsp:cNvPr id="0" name=""/>
        <dsp:cNvSpPr/>
      </dsp:nvSpPr>
      <dsp:spPr>
        <a:xfrm>
          <a:off x="2306887" y="1323178"/>
          <a:ext cx="1267341" cy="79208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000" kern="1200" dirty="0"/>
            <a:t>ΑΜΚΑ</a:t>
          </a:r>
          <a:endParaRPr lang="en-US" sz="1000" kern="1200" dirty="0"/>
        </a:p>
      </dsp:txBody>
      <dsp:txXfrm>
        <a:off x="2330086" y="1346377"/>
        <a:ext cx="1220943" cy="745690"/>
      </dsp:txXfrm>
    </dsp:sp>
    <dsp:sp modelId="{CE5A7ED6-DF61-4E0A-9F34-0CC5D1899C8E}">
      <dsp:nvSpPr>
        <dsp:cNvPr id="0" name=""/>
        <dsp:cNvSpPr/>
      </dsp:nvSpPr>
      <dsp:spPr>
        <a:xfrm>
          <a:off x="2148469" y="1125156"/>
          <a:ext cx="158417" cy="158417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84176"/>
              </a:lnTo>
              <a:lnTo>
                <a:pt x="158417" y="158417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4CBE883-5221-4F10-96D7-3C34A3AB1330}">
      <dsp:nvSpPr>
        <dsp:cNvPr id="0" name=""/>
        <dsp:cNvSpPr/>
      </dsp:nvSpPr>
      <dsp:spPr>
        <a:xfrm>
          <a:off x="2306887" y="2313289"/>
          <a:ext cx="1267341" cy="79208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000" kern="1200" dirty="0"/>
            <a:t>Ονοματεπώνυμο</a:t>
          </a:r>
          <a:endParaRPr lang="en-US" sz="1000" kern="1200" dirty="0"/>
        </a:p>
      </dsp:txBody>
      <dsp:txXfrm>
        <a:off x="2330086" y="2336488"/>
        <a:ext cx="1220943" cy="745690"/>
      </dsp:txXfrm>
    </dsp:sp>
    <dsp:sp modelId="{AD3BB672-A78D-4464-BFF4-4922B91DFCB0}">
      <dsp:nvSpPr>
        <dsp:cNvPr id="0" name=""/>
        <dsp:cNvSpPr/>
      </dsp:nvSpPr>
      <dsp:spPr>
        <a:xfrm>
          <a:off x="3970273" y="333068"/>
          <a:ext cx="1584176" cy="79208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700" kern="1200" dirty="0"/>
            <a:t>Στοιχεία ιατρού</a:t>
          </a:r>
          <a:endParaRPr lang="en-US" sz="1700" kern="1200" dirty="0"/>
        </a:p>
      </dsp:txBody>
      <dsp:txXfrm>
        <a:off x="3993472" y="356267"/>
        <a:ext cx="1537778" cy="745690"/>
      </dsp:txXfrm>
    </dsp:sp>
    <dsp:sp modelId="{2E9FF865-3F67-4274-8B82-979364F595BE}">
      <dsp:nvSpPr>
        <dsp:cNvPr id="0" name=""/>
        <dsp:cNvSpPr/>
      </dsp:nvSpPr>
      <dsp:spPr>
        <a:xfrm>
          <a:off x="4128691" y="1125156"/>
          <a:ext cx="158417" cy="59406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94066"/>
              </a:lnTo>
              <a:lnTo>
                <a:pt x="158417" y="59406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288BCD3-220A-4882-8B3F-63B02E039D23}">
      <dsp:nvSpPr>
        <dsp:cNvPr id="0" name=""/>
        <dsp:cNvSpPr/>
      </dsp:nvSpPr>
      <dsp:spPr>
        <a:xfrm>
          <a:off x="4287108" y="1323178"/>
          <a:ext cx="1267341" cy="79208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000" kern="1200" dirty="0"/>
            <a:t>Ονοματεπώνυμο</a:t>
          </a:r>
          <a:endParaRPr lang="en-US" sz="1000" kern="1200" dirty="0"/>
        </a:p>
      </dsp:txBody>
      <dsp:txXfrm>
        <a:off x="4310307" y="1346377"/>
        <a:ext cx="1220943" cy="745690"/>
      </dsp:txXfrm>
    </dsp:sp>
    <dsp:sp modelId="{CB98F32F-0011-40CE-AA74-30370A3DFFE4}">
      <dsp:nvSpPr>
        <dsp:cNvPr id="0" name=""/>
        <dsp:cNvSpPr/>
      </dsp:nvSpPr>
      <dsp:spPr>
        <a:xfrm>
          <a:off x="4128691" y="1125156"/>
          <a:ext cx="158417" cy="158417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84176"/>
              </a:lnTo>
              <a:lnTo>
                <a:pt x="158417" y="158417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4C35790-9CB4-419C-B89D-BE49258C6216}">
      <dsp:nvSpPr>
        <dsp:cNvPr id="0" name=""/>
        <dsp:cNvSpPr/>
      </dsp:nvSpPr>
      <dsp:spPr>
        <a:xfrm>
          <a:off x="4287108" y="2313289"/>
          <a:ext cx="1267341" cy="79208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000" kern="1200" dirty="0"/>
            <a:t>ΑΦΜ</a:t>
          </a:r>
          <a:endParaRPr lang="en-US" sz="1000" kern="1200" dirty="0"/>
        </a:p>
      </dsp:txBody>
      <dsp:txXfrm>
        <a:off x="4310307" y="2336488"/>
        <a:ext cx="1220943" cy="745690"/>
      </dsp:txXfrm>
    </dsp:sp>
    <dsp:sp modelId="{26DE12CE-70B8-4F36-B7CB-D28279800B45}">
      <dsp:nvSpPr>
        <dsp:cNvPr id="0" name=""/>
        <dsp:cNvSpPr/>
      </dsp:nvSpPr>
      <dsp:spPr>
        <a:xfrm>
          <a:off x="4128691" y="1125156"/>
          <a:ext cx="158417" cy="257428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74287"/>
              </a:lnTo>
              <a:lnTo>
                <a:pt x="158417" y="257428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7BD7379-C978-4D4E-99F0-2644C6E536C7}">
      <dsp:nvSpPr>
        <dsp:cNvPr id="0" name=""/>
        <dsp:cNvSpPr/>
      </dsp:nvSpPr>
      <dsp:spPr>
        <a:xfrm>
          <a:off x="4287108" y="3303399"/>
          <a:ext cx="1267341" cy="79208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000" kern="1200" dirty="0"/>
            <a:t>Ειδικότητα</a:t>
          </a:r>
          <a:endParaRPr lang="en-US" sz="1000" kern="1200" dirty="0"/>
        </a:p>
      </dsp:txBody>
      <dsp:txXfrm>
        <a:off x="4310307" y="3326598"/>
        <a:ext cx="1220943" cy="745690"/>
      </dsp:txXfrm>
    </dsp:sp>
    <dsp:sp modelId="{80979D90-D88F-4CF7-BA93-BFC17396633A}">
      <dsp:nvSpPr>
        <dsp:cNvPr id="0" name=""/>
        <dsp:cNvSpPr/>
      </dsp:nvSpPr>
      <dsp:spPr>
        <a:xfrm>
          <a:off x="4128691" y="1125156"/>
          <a:ext cx="158417" cy="35643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564398"/>
              </a:lnTo>
              <a:lnTo>
                <a:pt x="158417" y="356439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B1D2251-5985-4561-9A3B-CB774AB6C10A}">
      <dsp:nvSpPr>
        <dsp:cNvPr id="0" name=""/>
        <dsp:cNvSpPr/>
      </dsp:nvSpPr>
      <dsp:spPr>
        <a:xfrm>
          <a:off x="4287108" y="4293510"/>
          <a:ext cx="1267341" cy="79208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000" kern="1200" dirty="0"/>
            <a:t>Χώρος εργασίας ιατρού</a:t>
          </a:r>
          <a:endParaRPr lang="en-US" sz="1000" kern="1200" dirty="0"/>
        </a:p>
      </dsp:txBody>
      <dsp:txXfrm>
        <a:off x="4310307" y="4316709"/>
        <a:ext cx="1220943" cy="745690"/>
      </dsp:txXfrm>
    </dsp:sp>
    <dsp:sp modelId="{E36063B2-2A8D-4DD2-8E54-65A28B851088}">
      <dsp:nvSpPr>
        <dsp:cNvPr id="0" name=""/>
        <dsp:cNvSpPr/>
      </dsp:nvSpPr>
      <dsp:spPr>
        <a:xfrm>
          <a:off x="5950494" y="333068"/>
          <a:ext cx="1584176" cy="79208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700" kern="1200" dirty="0"/>
            <a:t>Στοιχεία φαρμακείου</a:t>
          </a:r>
          <a:endParaRPr lang="en-US" sz="1700" kern="1200" dirty="0"/>
        </a:p>
      </dsp:txBody>
      <dsp:txXfrm>
        <a:off x="5973693" y="356267"/>
        <a:ext cx="1537778" cy="745690"/>
      </dsp:txXfrm>
    </dsp:sp>
    <dsp:sp modelId="{E0BFAA3F-04F2-4F01-BAD6-E54B06B032F8}">
      <dsp:nvSpPr>
        <dsp:cNvPr id="0" name=""/>
        <dsp:cNvSpPr/>
      </dsp:nvSpPr>
      <dsp:spPr>
        <a:xfrm>
          <a:off x="6108912" y="1125156"/>
          <a:ext cx="158417" cy="59406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94066"/>
              </a:lnTo>
              <a:lnTo>
                <a:pt x="158417" y="59406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C789E32-55FA-4EED-A0EA-A22A53D970ED}">
      <dsp:nvSpPr>
        <dsp:cNvPr id="0" name=""/>
        <dsp:cNvSpPr/>
      </dsp:nvSpPr>
      <dsp:spPr>
        <a:xfrm>
          <a:off x="6267330" y="1323178"/>
          <a:ext cx="1267341" cy="79208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000" kern="1200" dirty="0"/>
            <a:t>Φαρμακείο (ΑΦΜ)</a:t>
          </a:r>
          <a:endParaRPr lang="en-US" sz="1000" kern="1200" dirty="0"/>
        </a:p>
      </dsp:txBody>
      <dsp:txXfrm>
        <a:off x="6290529" y="1346377"/>
        <a:ext cx="1220943" cy="745690"/>
      </dsp:txXfrm>
    </dsp:sp>
    <dsp:sp modelId="{24B9C111-6465-44E7-B41C-109BBB77B307}">
      <dsp:nvSpPr>
        <dsp:cNvPr id="0" name=""/>
        <dsp:cNvSpPr/>
      </dsp:nvSpPr>
      <dsp:spPr>
        <a:xfrm>
          <a:off x="6108912" y="1125156"/>
          <a:ext cx="158417" cy="158417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84176"/>
              </a:lnTo>
              <a:lnTo>
                <a:pt x="158417" y="158417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F97E7B8-1551-437F-A82B-4C15C2C9C4D7}">
      <dsp:nvSpPr>
        <dsp:cNvPr id="0" name=""/>
        <dsp:cNvSpPr/>
      </dsp:nvSpPr>
      <dsp:spPr>
        <a:xfrm>
          <a:off x="6267330" y="2313289"/>
          <a:ext cx="1267341" cy="79208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000" kern="1200" dirty="0"/>
            <a:t>Δ/</a:t>
          </a:r>
          <a:r>
            <a:rPr lang="el-GR" sz="1000" kern="1200" dirty="0" err="1"/>
            <a:t>νση</a:t>
          </a:r>
          <a:r>
            <a:rPr lang="el-GR" sz="1000" kern="1200" dirty="0"/>
            <a:t> φαρμακείου</a:t>
          </a:r>
          <a:endParaRPr lang="en-US" sz="1000" kern="1200" dirty="0"/>
        </a:p>
      </dsp:txBody>
      <dsp:txXfrm>
        <a:off x="6290529" y="2336488"/>
        <a:ext cx="1220943" cy="745690"/>
      </dsp:txXfrm>
    </dsp:sp>
    <dsp:sp modelId="{A45DE2E7-49E3-4A8B-9514-64FAF3DB0546}">
      <dsp:nvSpPr>
        <dsp:cNvPr id="0" name=""/>
        <dsp:cNvSpPr/>
      </dsp:nvSpPr>
      <dsp:spPr>
        <a:xfrm>
          <a:off x="7930715" y="333068"/>
          <a:ext cx="1584176" cy="79208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700" kern="1200" dirty="0"/>
            <a:t>Στοιχεία φαρμάκου</a:t>
          </a:r>
          <a:endParaRPr lang="en-US" sz="1700" kern="1200" dirty="0"/>
        </a:p>
      </dsp:txBody>
      <dsp:txXfrm>
        <a:off x="7953914" y="356267"/>
        <a:ext cx="1537778" cy="745690"/>
      </dsp:txXfrm>
    </dsp:sp>
    <dsp:sp modelId="{22E9BBB8-A4B8-403A-8913-8A4418AC2212}">
      <dsp:nvSpPr>
        <dsp:cNvPr id="0" name=""/>
        <dsp:cNvSpPr/>
      </dsp:nvSpPr>
      <dsp:spPr>
        <a:xfrm>
          <a:off x="8089133" y="1125156"/>
          <a:ext cx="158417" cy="59406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94066"/>
              </a:lnTo>
              <a:lnTo>
                <a:pt x="158417" y="59406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7537E8-143E-427C-B3E7-DE7DA246E350}">
      <dsp:nvSpPr>
        <dsp:cNvPr id="0" name=""/>
        <dsp:cNvSpPr/>
      </dsp:nvSpPr>
      <dsp:spPr>
        <a:xfrm>
          <a:off x="8247551" y="1323178"/>
          <a:ext cx="1267341" cy="79208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Barcode</a:t>
          </a:r>
          <a:r>
            <a:rPr lang="el-GR" sz="1000" kern="1200" dirty="0"/>
            <a:t> &amp; </a:t>
          </a:r>
          <a:r>
            <a:rPr lang="en-US" sz="1000" kern="1200" dirty="0"/>
            <a:t>ATC </a:t>
          </a:r>
          <a:r>
            <a:rPr lang="el-GR" sz="1000" kern="1200" dirty="0"/>
            <a:t>κωδικός</a:t>
          </a:r>
          <a:endParaRPr lang="en-US" sz="1000" kern="1200" dirty="0"/>
        </a:p>
      </dsp:txBody>
      <dsp:txXfrm>
        <a:off x="8270750" y="1346377"/>
        <a:ext cx="1220943" cy="745690"/>
      </dsp:txXfrm>
    </dsp:sp>
    <dsp:sp modelId="{00F002B4-7587-42A0-930E-73CF9201D53D}">
      <dsp:nvSpPr>
        <dsp:cNvPr id="0" name=""/>
        <dsp:cNvSpPr/>
      </dsp:nvSpPr>
      <dsp:spPr>
        <a:xfrm>
          <a:off x="8089133" y="1125156"/>
          <a:ext cx="158417" cy="158417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84176"/>
              </a:lnTo>
              <a:lnTo>
                <a:pt x="158417" y="158417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929F17E-536E-4C52-9547-B9FC3A0354F6}">
      <dsp:nvSpPr>
        <dsp:cNvPr id="0" name=""/>
        <dsp:cNvSpPr/>
      </dsp:nvSpPr>
      <dsp:spPr>
        <a:xfrm>
          <a:off x="8247551" y="2313289"/>
          <a:ext cx="1267341" cy="79208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000" kern="1200" dirty="0"/>
            <a:t>Εμπορική ονομασία και περιγραφή σκευάσματος</a:t>
          </a:r>
          <a:endParaRPr lang="en-US" sz="1000" kern="1200" dirty="0"/>
        </a:p>
      </dsp:txBody>
      <dsp:txXfrm>
        <a:off x="8270750" y="2336488"/>
        <a:ext cx="1220943" cy="745690"/>
      </dsp:txXfrm>
    </dsp:sp>
    <dsp:sp modelId="{512745CA-738F-4298-A7BB-FB7D3E778912}">
      <dsp:nvSpPr>
        <dsp:cNvPr id="0" name=""/>
        <dsp:cNvSpPr/>
      </dsp:nvSpPr>
      <dsp:spPr>
        <a:xfrm>
          <a:off x="8089133" y="1125156"/>
          <a:ext cx="158417" cy="257428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74287"/>
              </a:lnTo>
              <a:lnTo>
                <a:pt x="158417" y="257428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1A9C905-ADCF-436E-906B-F5837ABFF454}">
      <dsp:nvSpPr>
        <dsp:cNvPr id="0" name=""/>
        <dsp:cNvSpPr/>
      </dsp:nvSpPr>
      <dsp:spPr>
        <a:xfrm>
          <a:off x="8247551" y="3303399"/>
          <a:ext cx="1267341" cy="79208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000" kern="1200" dirty="0"/>
            <a:t>Κόστος φαρμάκου</a:t>
          </a:r>
          <a:endParaRPr lang="en-US" sz="1000" kern="1200" dirty="0"/>
        </a:p>
      </dsp:txBody>
      <dsp:txXfrm>
        <a:off x="8270750" y="3326598"/>
        <a:ext cx="1220943" cy="745690"/>
      </dsp:txXfrm>
    </dsp:sp>
    <dsp:sp modelId="{BF5D3AEC-9D75-42FC-BBEC-F871C9581D3D}">
      <dsp:nvSpPr>
        <dsp:cNvPr id="0" name=""/>
        <dsp:cNvSpPr/>
      </dsp:nvSpPr>
      <dsp:spPr>
        <a:xfrm>
          <a:off x="8089133" y="1125156"/>
          <a:ext cx="158417" cy="35643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564398"/>
              </a:lnTo>
              <a:lnTo>
                <a:pt x="158417" y="356439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0DA484E-18D3-495D-A7D6-BFEAEAC8A822}">
      <dsp:nvSpPr>
        <dsp:cNvPr id="0" name=""/>
        <dsp:cNvSpPr/>
      </dsp:nvSpPr>
      <dsp:spPr>
        <a:xfrm>
          <a:off x="8247551" y="4293510"/>
          <a:ext cx="1267341" cy="79208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000" kern="1200" dirty="0"/>
            <a:t>Παραγωγός φαρμάκου</a:t>
          </a:r>
          <a:endParaRPr lang="en-US" sz="1000" kern="1200" dirty="0"/>
        </a:p>
      </dsp:txBody>
      <dsp:txXfrm>
        <a:off x="8270750" y="4316709"/>
        <a:ext cx="1220943" cy="745690"/>
      </dsp:txXfrm>
    </dsp:sp>
    <dsp:sp modelId="{71362DF4-E699-482A-9D53-1103C398AADC}">
      <dsp:nvSpPr>
        <dsp:cNvPr id="0" name=""/>
        <dsp:cNvSpPr/>
      </dsp:nvSpPr>
      <dsp:spPr>
        <a:xfrm>
          <a:off x="9910937" y="333068"/>
          <a:ext cx="1584176" cy="79208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700" kern="1200" dirty="0"/>
            <a:t>Ποσότητα και κόστος συνταγής</a:t>
          </a:r>
          <a:endParaRPr lang="en-US" sz="1700" kern="1200" dirty="0"/>
        </a:p>
      </dsp:txBody>
      <dsp:txXfrm>
        <a:off x="9934136" y="356267"/>
        <a:ext cx="1537778" cy="745690"/>
      </dsp:txXfrm>
    </dsp:sp>
    <dsp:sp modelId="{FF0774D2-F82D-42FA-8CFB-A1C6F0FD38C3}">
      <dsp:nvSpPr>
        <dsp:cNvPr id="0" name=""/>
        <dsp:cNvSpPr/>
      </dsp:nvSpPr>
      <dsp:spPr>
        <a:xfrm>
          <a:off x="10069354" y="1125156"/>
          <a:ext cx="158417" cy="59406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94066"/>
              </a:lnTo>
              <a:lnTo>
                <a:pt x="158417" y="59406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7536A5-A938-48E8-AD41-392A06CB0E0A}">
      <dsp:nvSpPr>
        <dsp:cNvPr id="0" name=""/>
        <dsp:cNvSpPr/>
      </dsp:nvSpPr>
      <dsp:spPr>
        <a:xfrm>
          <a:off x="10227772" y="1323178"/>
          <a:ext cx="1267341" cy="79208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000" kern="1200" dirty="0"/>
            <a:t>Ποσό και μονάδα δόσης</a:t>
          </a:r>
          <a:endParaRPr lang="en-US" sz="1000" kern="1200" dirty="0"/>
        </a:p>
      </dsp:txBody>
      <dsp:txXfrm>
        <a:off x="10250971" y="1346377"/>
        <a:ext cx="1220943" cy="745690"/>
      </dsp:txXfrm>
    </dsp:sp>
    <dsp:sp modelId="{13E405D1-B38D-4074-ACC6-FB4B9C21CACC}">
      <dsp:nvSpPr>
        <dsp:cNvPr id="0" name=""/>
        <dsp:cNvSpPr/>
      </dsp:nvSpPr>
      <dsp:spPr>
        <a:xfrm>
          <a:off x="10069354" y="1125156"/>
          <a:ext cx="158417" cy="158417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84176"/>
              </a:lnTo>
              <a:lnTo>
                <a:pt x="158417" y="158417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80F0762-EF25-4D57-9FBA-84B9BB445453}">
      <dsp:nvSpPr>
        <dsp:cNvPr id="0" name=""/>
        <dsp:cNvSpPr/>
      </dsp:nvSpPr>
      <dsp:spPr>
        <a:xfrm>
          <a:off x="10227772" y="2313289"/>
          <a:ext cx="1267341" cy="79208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000" kern="1200" dirty="0"/>
            <a:t>Διάρκεια θεραπείας (μέρες)</a:t>
          </a:r>
          <a:endParaRPr lang="en-US" sz="1000" kern="1200" dirty="0"/>
        </a:p>
      </dsp:txBody>
      <dsp:txXfrm>
        <a:off x="10250971" y="2336488"/>
        <a:ext cx="1220943" cy="745690"/>
      </dsp:txXfrm>
    </dsp:sp>
    <dsp:sp modelId="{46197759-68DD-4911-899F-4B99378BD10E}">
      <dsp:nvSpPr>
        <dsp:cNvPr id="0" name=""/>
        <dsp:cNvSpPr/>
      </dsp:nvSpPr>
      <dsp:spPr>
        <a:xfrm>
          <a:off x="10069354" y="1125156"/>
          <a:ext cx="158417" cy="257428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74287"/>
              </a:lnTo>
              <a:lnTo>
                <a:pt x="158417" y="257428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D308133-4F28-45B8-9BCC-72364E64D8D3}">
      <dsp:nvSpPr>
        <dsp:cNvPr id="0" name=""/>
        <dsp:cNvSpPr/>
      </dsp:nvSpPr>
      <dsp:spPr>
        <a:xfrm>
          <a:off x="10227772" y="3303399"/>
          <a:ext cx="1267341" cy="79208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000" kern="1200" dirty="0"/>
            <a:t>Τιμή (Λιανική και αποζημίωσης)</a:t>
          </a:r>
          <a:endParaRPr lang="en-US" sz="1000" kern="1200" dirty="0"/>
        </a:p>
      </dsp:txBody>
      <dsp:txXfrm>
        <a:off x="10250971" y="3326598"/>
        <a:ext cx="1220943" cy="74569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DC8D9CA-E0F1-4AA7-882B-821FE6A27FAB}">
      <dsp:nvSpPr>
        <dsp:cNvPr id="0" name=""/>
        <dsp:cNvSpPr/>
      </dsp:nvSpPr>
      <dsp:spPr>
        <a:xfrm>
          <a:off x="374967" y="1080"/>
          <a:ext cx="2956858" cy="177411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300" i="1" kern="1200" dirty="0"/>
            <a:t>Τεκμηριωμένη λήψη αποφάσεων</a:t>
          </a:r>
          <a:endParaRPr lang="en-US" sz="2300" i="1" kern="1200" dirty="0"/>
        </a:p>
      </dsp:txBody>
      <dsp:txXfrm>
        <a:off x="374967" y="1080"/>
        <a:ext cx="2956858" cy="1774115"/>
      </dsp:txXfrm>
    </dsp:sp>
    <dsp:sp modelId="{BCC56E89-54BE-4985-A6DA-0C7EBF7144D6}">
      <dsp:nvSpPr>
        <dsp:cNvPr id="0" name=""/>
        <dsp:cNvSpPr/>
      </dsp:nvSpPr>
      <dsp:spPr>
        <a:xfrm>
          <a:off x="3627512" y="1080"/>
          <a:ext cx="2956858" cy="177411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300" i="1" kern="1200" dirty="0"/>
            <a:t>Τακτικοί έλεγχοι και επιθεωρήσεις</a:t>
          </a:r>
          <a:endParaRPr lang="en-US" sz="2300" i="1" kern="1200" dirty="0"/>
        </a:p>
      </dsp:txBody>
      <dsp:txXfrm>
        <a:off x="3627512" y="1080"/>
        <a:ext cx="2956858" cy="1774115"/>
      </dsp:txXfrm>
    </dsp:sp>
    <dsp:sp modelId="{23D144FA-2977-4BAD-8F18-77BB25CE1DF2}">
      <dsp:nvSpPr>
        <dsp:cNvPr id="0" name=""/>
        <dsp:cNvSpPr/>
      </dsp:nvSpPr>
      <dsp:spPr>
        <a:xfrm>
          <a:off x="6880056" y="1080"/>
          <a:ext cx="2956858" cy="177411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300" i="1" kern="1200" dirty="0"/>
            <a:t>Αυστηρές κυρώσεις</a:t>
          </a:r>
          <a:endParaRPr lang="en-US" sz="2300" i="1" kern="1200" dirty="0"/>
        </a:p>
      </dsp:txBody>
      <dsp:txXfrm>
        <a:off x="6880056" y="1080"/>
        <a:ext cx="2956858" cy="1774115"/>
      </dsp:txXfrm>
    </dsp:sp>
    <dsp:sp modelId="{C613C89F-9707-4FF4-9ECF-DCE6CD4DE077}">
      <dsp:nvSpPr>
        <dsp:cNvPr id="0" name=""/>
        <dsp:cNvSpPr/>
      </dsp:nvSpPr>
      <dsp:spPr>
        <a:xfrm>
          <a:off x="2001239" y="2070881"/>
          <a:ext cx="2956858" cy="177411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300" i="1" kern="1200" dirty="0"/>
            <a:t>Διαφάνεια &amp; ενημέρωση των πολιτών</a:t>
          </a:r>
          <a:endParaRPr lang="en-US" sz="2300" i="1" kern="1200" dirty="0"/>
        </a:p>
      </dsp:txBody>
      <dsp:txXfrm>
        <a:off x="2001239" y="2070881"/>
        <a:ext cx="2956858" cy="1774115"/>
      </dsp:txXfrm>
    </dsp:sp>
    <dsp:sp modelId="{7BA60132-0FBC-4FAF-B500-F398DA8F98BA}">
      <dsp:nvSpPr>
        <dsp:cNvPr id="0" name=""/>
        <dsp:cNvSpPr/>
      </dsp:nvSpPr>
      <dsp:spPr>
        <a:xfrm>
          <a:off x="5253784" y="2070881"/>
          <a:ext cx="2956858" cy="177411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300" i="1" kern="1200" dirty="0"/>
            <a:t>Συνεχής επικοινωνία, εκπαίδευση και συνεργασία με τους επαγγελματίες υγείας</a:t>
          </a:r>
          <a:endParaRPr lang="en-US" sz="2300" i="1" kern="1200" dirty="0"/>
        </a:p>
      </dsp:txBody>
      <dsp:txXfrm>
        <a:off x="5253784" y="2070881"/>
        <a:ext cx="2956858" cy="177411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κεφαλίδας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3" name="Θέση ημερομηνίας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47F331-9C9B-2341-B966-36D857DA8838}" type="datetimeFigureOut">
              <a:rPr lang="el-GR" smtClean="0"/>
              <a:t>15/10/2024</a:t>
            </a:fld>
            <a:endParaRPr lang="el-GR"/>
          </a:p>
        </p:txBody>
      </p:sp>
      <p:sp>
        <p:nvSpPr>
          <p:cNvPr id="4" name="Θέση εικόνας διαφάνειας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l-GR"/>
          </a:p>
        </p:txBody>
      </p:sp>
      <p:sp>
        <p:nvSpPr>
          <p:cNvPr id="5" name="Θέση σημειώσεων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9DA6D5-C94F-064F-9A31-B7C2D1E380A0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1134391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p17:notes"/>
          <p:cNvSpPr txBox="1">
            <a:spLocks noGrp="1"/>
          </p:cNvSpPr>
          <p:nvPr>
            <p:ph type="body" idx="1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71" name="Google Shape;171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9942532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Custom Layout">
  <p:cSld name="8_Custom 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7"/>
          <p:cNvSpPr/>
          <p:nvPr/>
        </p:nvSpPr>
        <p:spPr>
          <a:xfrm>
            <a:off x="0" y="-2"/>
            <a:ext cx="12192000" cy="6858002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7" name="Google Shape;17;p27" descr="A close up of a logo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 l="70000"/>
          <a:stretch/>
        </p:blipFill>
        <p:spPr>
          <a:xfrm>
            <a:off x="8534400" y="-1"/>
            <a:ext cx="365760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Google Shape;18;p27"/>
          <p:cNvSpPr txBox="1">
            <a:spLocks noGrp="1"/>
          </p:cNvSpPr>
          <p:nvPr>
            <p:ph type="title"/>
          </p:nvPr>
        </p:nvSpPr>
        <p:spPr>
          <a:xfrm>
            <a:off x="414000" y="2603033"/>
            <a:ext cx="6621800" cy="185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8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" name="Google Shape;19;p27" descr="A close up of a logo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 l="2029" t="5223" r="87558" b="75701"/>
          <a:stretch/>
        </p:blipFill>
        <p:spPr>
          <a:xfrm>
            <a:off x="247650" y="424126"/>
            <a:ext cx="1269335" cy="1308246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Google Shape;20;p27"/>
          <p:cNvSpPr txBox="1">
            <a:spLocks noGrp="1"/>
          </p:cNvSpPr>
          <p:nvPr>
            <p:ph type="body" idx="1"/>
          </p:nvPr>
        </p:nvSpPr>
        <p:spPr>
          <a:xfrm>
            <a:off x="414000" y="4609783"/>
            <a:ext cx="6621800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27"/>
          <p:cNvSpPr/>
          <p:nvPr/>
        </p:nvSpPr>
        <p:spPr>
          <a:xfrm>
            <a:off x="1576006" y="759933"/>
            <a:ext cx="4741800" cy="302400"/>
          </a:xfrm>
          <a:prstGeom prst="snip2DiagRect">
            <a:avLst>
              <a:gd name="adj1" fmla="val 0"/>
              <a:gd name="adj2" fmla="val 16667"/>
            </a:avLst>
          </a:prstGeom>
          <a:noFill/>
          <a:ln>
            <a:noFill/>
          </a:ln>
        </p:spPr>
        <p:txBody>
          <a:bodyPr spcFirstLastPara="1" wrap="square" lIns="111175" tIns="15850" rIns="111175" bIns="158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Calibri"/>
              <a:buNone/>
            </a:pPr>
            <a:r>
              <a:rPr lang="el-GR" sz="2800" b="1" i="0" u="none" strike="noStrike" cap="none">
                <a:solidFill>
                  <a:srgbClr val="F2F2F2"/>
                </a:solidFill>
                <a:latin typeface="Calibri"/>
                <a:ea typeface="Calibri"/>
                <a:cs typeface="Calibri"/>
                <a:sym typeface="Calibri"/>
              </a:rPr>
              <a:t>ΕΛΛΗΝΙΚΗ ΔΗΜΟΚΡΑΤΙΑ</a:t>
            </a:r>
            <a:endParaRPr sz="2800" b="0" i="0" u="none" strike="noStrike" cap="none">
              <a:solidFill>
                <a:srgbClr val="F2F2F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27"/>
          <p:cNvSpPr txBox="1">
            <a:spLocks noGrp="1"/>
          </p:cNvSpPr>
          <p:nvPr>
            <p:ph type="body" idx="2"/>
          </p:nvPr>
        </p:nvSpPr>
        <p:spPr>
          <a:xfrm>
            <a:off x="1618678" y="1205619"/>
            <a:ext cx="4657521" cy="4631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1600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628864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Custom Layout">
  <p:cSld name="15_Custom Layout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43"/>
          <p:cNvSpPr txBox="1">
            <a:spLocks noGrp="1"/>
          </p:cNvSpPr>
          <p:nvPr>
            <p:ph type="title"/>
          </p:nvPr>
        </p:nvSpPr>
        <p:spPr>
          <a:xfrm>
            <a:off x="327600" y="399600"/>
            <a:ext cx="11343600" cy="8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45700" rIns="91425" bIns="45700" anchor="t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  <a:defRPr sz="2600" b="1" i="0" u="none" strike="noStrike" cap="none">
                <a:solidFill>
                  <a:srgbClr val="31506D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43"/>
          <p:cNvSpPr txBox="1">
            <a:spLocks noGrp="1"/>
          </p:cNvSpPr>
          <p:nvPr>
            <p:ph type="body" idx="1"/>
          </p:nvPr>
        </p:nvSpPr>
        <p:spPr>
          <a:xfrm>
            <a:off x="326267" y="1251889"/>
            <a:ext cx="11343600" cy="36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45700" rIns="91425" bIns="4570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1">
                <a:solidFill>
                  <a:srgbClr val="36363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43"/>
          <p:cNvSpPr/>
          <p:nvPr/>
        </p:nvSpPr>
        <p:spPr>
          <a:xfrm>
            <a:off x="363013" y="225465"/>
            <a:ext cx="5473800" cy="915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alibri"/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" name="Google Shape;34;p43"/>
          <p:cNvSpPr txBox="1">
            <a:spLocks noGrp="1"/>
          </p:cNvSpPr>
          <p:nvPr>
            <p:ph type="sldNum" idx="12"/>
          </p:nvPr>
        </p:nvSpPr>
        <p:spPr>
          <a:xfrm>
            <a:off x="11296611" y="6377081"/>
            <a:ext cx="522000" cy="2554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  <p:sp>
        <p:nvSpPr>
          <p:cNvPr id="35" name="Google Shape;35;p43"/>
          <p:cNvSpPr txBox="1">
            <a:spLocks noGrp="1"/>
          </p:cNvSpPr>
          <p:nvPr>
            <p:ph type="ftr" idx="11"/>
          </p:nvPr>
        </p:nvSpPr>
        <p:spPr>
          <a:xfrm>
            <a:off x="809897" y="6377081"/>
            <a:ext cx="10315303" cy="2554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6" name="Google Shape;36;p43" descr="ΙΚΑΡΙΟΛΟΓΟΣ: Υπόμνημα του Δήμου Ικαρίας στο Υπουργείο Υγείας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73611" y="6271312"/>
            <a:ext cx="465154" cy="4669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264852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">
  <p:cSld name="3_Title Slide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22"/>
          <p:cNvSpPr/>
          <p:nvPr/>
        </p:nvSpPr>
        <p:spPr>
          <a:xfrm>
            <a:off x="0" y="-2"/>
            <a:ext cx="5241900" cy="68580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" name="Google Shape;45;p22"/>
          <p:cNvSpPr/>
          <p:nvPr/>
        </p:nvSpPr>
        <p:spPr>
          <a:xfrm rot="5400000">
            <a:off x="3937566" y="1304250"/>
            <a:ext cx="6858000" cy="4249500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6" name="Google Shape;46;p22" descr="ΙΚΑΡΙΟΛΟΓΟΣ: Υπόμνημα του Δήμου Ικαρίας στο Υπουργείο Υγείας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800000" y="148548"/>
            <a:ext cx="1188703" cy="1193398"/>
          </a:xfrm>
          <a:prstGeom prst="rect">
            <a:avLst/>
          </a:prstGeom>
          <a:noFill/>
          <a:ln>
            <a:noFill/>
          </a:ln>
        </p:spPr>
      </p:pic>
      <p:sp>
        <p:nvSpPr>
          <p:cNvPr id="47" name="Google Shape;47;p22"/>
          <p:cNvSpPr txBox="1">
            <a:spLocks noGrp="1"/>
          </p:cNvSpPr>
          <p:nvPr>
            <p:ph type="title"/>
          </p:nvPr>
        </p:nvSpPr>
        <p:spPr>
          <a:xfrm>
            <a:off x="415600" y="593366"/>
            <a:ext cx="6737700" cy="28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36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8" name="Google Shape;48;p22"/>
          <p:cNvSpPr txBox="1">
            <a:spLocks noGrp="1"/>
          </p:cNvSpPr>
          <p:nvPr>
            <p:ph type="sldNum" idx="12"/>
          </p:nvPr>
        </p:nvSpPr>
        <p:spPr>
          <a:xfrm>
            <a:off x="11296611" y="6377081"/>
            <a:ext cx="522000" cy="2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774788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ustom Layout">
  <p:cSld name="1_Custom Layou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31"/>
          <p:cNvSpPr/>
          <p:nvPr/>
        </p:nvSpPr>
        <p:spPr>
          <a:xfrm rot="-5400000">
            <a:off x="4924948" y="1564748"/>
            <a:ext cx="6858003" cy="3728499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" name="Google Shape;59;p31"/>
          <p:cNvSpPr/>
          <p:nvPr/>
        </p:nvSpPr>
        <p:spPr>
          <a:xfrm>
            <a:off x="10218198" y="-2"/>
            <a:ext cx="1973802" cy="6858003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" name="Google Shape;60;p31"/>
          <p:cNvSpPr txBox="1">
            <a:spLocks noGrp="1"/>
          </p:cNvSpPr>
          <p:nvPr>
            <p:ph type="title"/>
          </p:nvPr>
        </p:nvSpPr>
        <p:spPr>
          <a:xfrm>
            <a:off x="414000" y="594000"/>
            <a:ext cx="80823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6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1" name="Google Shape;61;p31" descr="ΙΚΑΡΙΟΛΟΓΟΣ: Υπόμνημα του Δήμου Ικαρίας στο Υπουργείο Υγείας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800000" y="148548"/>
            <a:ext cx="1188703" cy="1193399"/>
          </a:xfrm>
          <a:prstGeom prst="rect">
            <a:avLst/>
          </a:prstGeom>
          <a:noFill/>
          <a:ln>
            <a:noFill/>
          </a:ln>
        </p:spPr>
      </p:pic>
      <p:sp>
        <p:nvSpPr>
          <p:cNvPr id="62" name="Google Shape;62;p31"/>
          <p:cNvSpPr txBox="1">
            <a:spLocks noGrp="1"/>
          </p:cNvSpPr>
          <p:nvPr>
            <p:ph type="sldNum" idx="12"/>
          </p:nvPr>
        </p:nvSpPr>
        <p:spPr>
          <a:xfrm>
            <a:off x="11296611" y="6377081"/>
            <a:ext cx="522000" cy="2554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59559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Custom Layout">
  <p:cSld name="5_Custom Layout"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40"/>
          <p:cNvSpPr txBox="1">
            <a:spLocks noGrp="1"/>
          </p:cNvSpPr>
          <p:nvPr>
            <p:ph type="title"/>
          </p:nvPr>
        </p:nvSpPr>
        <p:spPr>
          <a:xfrm>
            <a:off x="414000" y="594000"/>
            <a:ext cx="80820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600" b="1">
                <a:solidFill>
                  <a:srgbClr val="31506D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" name="Google Shape;136;p40"/>
          <p:cNvSpPr/>
          <p:nvPr/>
        </p:nvSpPr>
        <p:spPr>
          <a:xfrm rot="-5400000">
            <a:off x="4924949" y="1564748"/>
            <a:ext cx="6858001" cy="3728499"/>
          </a:xfrm>
          <a:prstGeom prst="rtTriangle">
            <a:avLst/>
          </a:prstGeom>
          <a:solidFill>
            <a:srgbClr val="7EA3C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7" name="Google Shape;137;p40"/>
          <p:cNvSpPr/>
          <p:nvPr/>
        </p:nvSpPr>
        <p:spPr>
          <a:xfrm>
            <a:off x="10218198" y="-2"/>
            <a:ext cx="1973802" cy="6858001"/>
          </a:xfrm>
          <a:prstGeom prst="rect">
            <a:avLst/>
          </a:prstGeom>
          <a:solidFill>
            <a:srgbClr val="7EA3C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38" name="Google Shape;138;p40"/>
          <p:cNvPicPr preferRelativeResize="0"/>
          <p:nvPr/>
        </p:nvPicPr>
        <p:blipFill rotWithShape="1">
          <a:blip r:embed="rId2">
            <a:alphaModFix/>
          </a:blip>
          <a:srcRect l="30384" t="19870" r="29528" b="21655"/>
          <a:stretch/>
        </p:blipFill>
        <p:spPr>
          <a:xfrm>
            <a:off x="10784840" y="105369"/>
            <a:ext cx="1236980" cy="1233212"/>
          </a:xfrm>
          <a:prstGeom prst="rect">
            <a:avLst/>
          </a:prstGeom>
          <a:noFill/>
          <a:ln>
            <a:noFill/>
          </a:ln>
        </p:spPr>
      </p:pic>
      <p:sp>
        <p:nvSpPr>
          <p:cNvPr id="139" name="Google Shape;139;p40"/>
          <p:cNvSpPr txBox="1">
            <a:spLocks noGrp="1"/>
          </p:cNvSpPr>
          <p:nvPr>
            <p:ph type="sldNum" idx="12"/>
          </p:nvPr>
        </p:nvSpPr>
        <p:spPr>
          <a:xfrm>
            <a:off x="11296611" y="6377081"/>
            <a:ext cx="522000" cy="2554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211212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Custom Layout">
  <p:cSld name="10_Custom Layout"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Google Shape;146;p42"/>
          <p:cNvSpPr/>
          <p:nvPr/>
        </p:nvSpPr>
        <p:spPr>
          <a:xfrm>
            <a:off x="0" y="-2"/>
            <a:ext cx="5241953" cy="6858001"/>
          </a:xfrm>
          <a:prstGeom prst="rect">
            <a:avLst/>
          </a:prstGeom>
          <a:solidFill>
            <a:srgbClr val="2F559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7" name="Google Shape;147;p42"/>
          <p:cNvSpPr/>
          <p:nvPr/>
        </p:nvSpPr>
        <p:spPr>
          <a:xfrm rot="5400000">
            <a:off x="3937635" y="1304318"/>
            <a:ext cx="6858000" cy="4249363"/>
          </a:xfrm>
          <a:prstGeom prst="rtTriangle">
            <a:avLst/>
          </a:prstGeom>
          <a:solidFill>
            <a:srgbClr val="2F559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8" name="Google Shape;148;p42"/>
          <p:cNvSpPr txBox="1">
            <a:spLocks noGrp="1"/>
          </p:cNvSpPr>
          <p:nvPr>
            <p:ph type="title"/>
          </p:nvPr>
        </p:nvSpPr>
        <p:spPr>
          <a:xfrm>
            <a:off x="414000" y="597600"/>
            <a:ext cx="56820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6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" name="Google Shape;149;p42"/>
          <p:cNvSpPr/>
          <p:nvPr/>
        </p:nvSpPr>
        <p:spPr>
          <a:xfrm>
            <a:off x="-1" y="4444999"/>
            <a:ext cx="5241953" cy="2413001"/>
          </a:xfrm>
          <a:prstGeom prst="rect">
            <a:avLst/>
          </a:prstGeom>
          <a:solidFill>
            <a:srgbClr val="7EA3C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0" name="Google Shape;150;p42"/>
          <p:cNvSpPr/>
          <p:nvPr/>
        </p:nvSpPr>
        <p:spPr>
          <a:xfrm rot="5400000">
            <a:off x="4789501" y="4897455"/>
            <a:ext cx="2412999" cy="1508098"/>
          </a:xfrm>
          <a:prstGeom prst="rtTriangle">
            <a:avLst/>
          </a:prstGeom>
          <a:solidFill>
            <a:srgbClr val="7EA3C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1" name="Google Shape;151;p42"/>
          <p:cNvSpPr/>
          <p:nvPr/>
        </p:nvSpPr>
        <p:spPr>
          <a:xfrm rot="-5400000">
            <a:off x="3906810" y="1304317"/>
            <a:ext cx="6858000" cy="4249363"/>
          </a:xfrm>
          <a:prstGeom prst="rtTriangle">
            <a:avLst/>
          </a:prstGeom>
          <a:solidFill>
            <a:srgbClr val="CFCFC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2" name="Google Shape;152;p42"/>
          <p:cNvSpPr/>
          <p:nvPr/>
        </p:nvSpPr>
        <p:spPr>
          <a:xfrm rot="-5400000">
            <a:off x="4762865" y="4907156"/>
            <a:ext cx="2413000" cy="1488687"/>
          </a:xfrm>
          <a:prstGeom prst="rtTriangle">
            <a:avLst/>
          </a:prstGeom>
          <a:solidFill>
            <a:srgbClr val="EEEE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3" name="Google Shape;153;p42"/>
          <p:cNvSpPr/>
          <p:nvPr/>
        </p:nvSpPr>
        <p:spPr>
          <a:xfrm>
            <a:off x="6705600" y="4444994"/>
            <a:ext cx="5486399" cy="2413005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4" name="Google Shape;154;p42"/>
          <p:cNvSpPr/>
          <p:nvPr/>
        </p:nvSpPr>
        <p:spPr>
          <a:xfrm>
            <a:off x="9448800" y="0"/>
            <a:ext cx="2743200" cy="4444990"/>
          </a:xfrm>
          <a:prstGeom prst="rect">
            <a:avLst/>
          </a:prstGeom>
          <a:solidFill>
            <a:srgbClr val="CFCFC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55" name="Google Shape;155;p42" descr="ΙΚΑΡΙΟΛΟΓΟΣ: Υπόμνημα του Δήμου Ικαρίας στο Υπουργείο Υγείας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800000" y="148548"/>
            <a:ext cx="1188703" cy="1193399"/>
          </a:xfrm>
          <a:prstGeom prst="rect">
            <a:avLst/>
          </a:prstGeom>
          <a:noFill/>
          <a:ln>
            <a:noFill/>
          </a:ln>
        </p:spPr>
      </p:pic>
      <p:sp>
        <p:nvSpPr>
          <p:cNvPr id="156" name="Google Shape;156;p42"/>
          <p:cNvSpPr txBox="1">
            <a:spLocks noGrp="1"/>
          </p:cNvSpPr>
          <p:nvPr>
            <p:ph type="sldNum" idx="12"/>
          </p:nvPr>
        </p:nvSpPr>
        <p:spPr>
          <a:xfrm>
            <a:off x="11296611" y="6377081"/>
            <a:ext cx="522000" cy="2554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344327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Content - Subtitle">
  <p:cSld name="One Column Content - Subtitle">
    <p:spTree>
      <p:nvGrpSpPr>
        <p:cNvPr id="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Google Shape;162;p7"/>
          <p:cNvSpPr txBox="1">
            <a:spLocks noGrp="1"/>
          </p:cNvSpPr>
          <p:nvPr>
            <p:ph type="body" idx="1"/>
          </p:nvPr>
        </p:nvSpPr>
        <p:spPr>
          <a:xfrm>
            <a:off x="609600" y="2103438"/>
            <a:ext cx="3414184" cy="4068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7"/>
          <p:cNvSpPr txBox="1">
            <a:spLocks noGrp="1"/>
          </p:cNvSpPr>
          <p:nvPr>
            <p:ph type="sldNum" idx="12"/>
          </p:nvPr>
        </p:nvSpPr>
        <p:spPr>
          <a:xfrm>
            <a:off x="9875520" y="6611112"/>
            <a:ext cx="1706880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  <p:sp>
        <p:nvSpPr>
          <p:cNvPr id="164" name="Google Shape;164;p7"/>
          <p:cNvSpPr txBox="1">
            <a:spLocks noGrp="1"/>
          </p:cNvSpPr>
          <p:nvPr>
            <p:ph type="title"/>
          </p:nvPr>
        </p:nvSpPr>
        <p:spPr>
          <a:xfrm>
            <a:off x="609600" y="457200"/>
            <a:ext cx="10972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alibri"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" name="Google Shape;165;p7"/>
          <p:cNvSpPr txBox="1">
            <a:spLocks noGrp="1"/>
          </p:cNvSpPr>
          <p:nvPr>
            <p:ph type="subTitle" idx="2"/>
          </p:nvPr>
        </p:nvSpPr>
        <p:spPr>
          <a:xfrm>
            <a:off x="609599" y="914402"/>
            <a:ext cx="10972803" cy="914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</a:defRPr>
            </a:lvl1pPr>
            <a:lvl2pPr lvl="1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2pPr>
            <a:lvl3pPr lvl="2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4pPr>
            <a:lvl5pPr lvl="4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5pPr>
            <a:lvl6pPr lvl="5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6pPr>
            <a:lvl7pPr lvl="6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7pPr>
            <a:lvl8pPr lvl="7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8pPr>
            <a:lvl9pPr lvl="8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166" name="Google Shape;166;p7"/>
          <p:cNvSpPr txBox="1">
            <a:spLocks noGrp="1"/>
          </p:cNvSpPr>
          <p:nvPr>
            <p:ph type="dt" idx="10"/>
          </p:nvPr>
        </p:nvSpPr>
        <p:spPr>
          <a:xfrm>
            <a:off x="9875520" y="6473952"/>
            <a:ext cx="1706880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" name="Google Shape;167;p7"/>
          <p:cNvSpPr txBox="1">
            <a:spLocks noGrp="1"/>
          </p:cNvSpPr>
          <p:nvPr>
            <p:ph type="ftr" idx="11"/>
          </p:nvPr>
        </p:nvSpPr>
        <p:spPr>
          <a:xfrm>
            <a:off x="607060" y="6473952"/>
            <a:ext cx="5309024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68" name="Google Shape;168;p7"/>
          <p:cNvCxnSpPr/>
          <p:nvPr/>
        </p:nvCxnSpPr>
        <p:spPr>
          <a:xfrm>
            <a:off x="607061" y="1161288"/>
            <a:ext cx="10975340" cy="0"/>
          </a:xfrm>
          <a:prstGeom prst="straightConnector1">
            <a:avLst/>
          </a:prstGeom>
          <a:noFill/>
          <a:ln w="12700" cap="sq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263397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6A010BC-2057-2B00-17E9-9C359A94A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816488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A010BC-2057-2B00-17E9-9C359A94A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g1136d0d7768_0_153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g1136d0d7768_0_153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g1136d0d7768_0_153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g1136d0d7768_0_153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" name="Google Shape;14;g1136d0d7768_0_153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17068576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3" r:id="rId1"/>
    <p:sldLayoutId id="2147483665" r:id="rId2"/>
    <p:sldLayoutId id="2147483667" r:id="rId3"/>
    <p:sldLayoutId id="2147483669" r:id="rId4"/>
    <p:sldLayoutId id="2147483678" r:id="rId5"/>
    <p:sldLayoutId id="2147483680" r:id="rId6"/>
    <p:sldLayoutId id="2147483682" r:id="rId7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17"/>
          <p:cNvSpPr txBox="1">
            <a:spLocks noGrp="1"/>
          </p:cNvSpPr>
          <p:nvPr>
            <p:ph type="title"/>
          </p:nvPr>
        </p:nvSpPr>
        <p:spPr>
          <a:xfrm>
            <a:off x="414000" y="2436425"/>
            <a:ext cx="8385968" cy="185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l-GR" sz="3400" dirty="0"/>
              <a:t>Καταπολεμώντας την Υπερ- συνταγογράφηση: Μια Νέα Εποχή στην Ιατρική Ακεραιότητα</a:t>
            </a:r>
          </a:p>
        </p:txBody>
      </p:sp>
      <p:sp>
        <p:nvSpPr>
          <p:cNvPr id="175" name="Google Shape;175;p17"/>
          <p:cNvSpPr txBox="1">
            <a:spLocks noGrp="1"/>
          </p:cNvSpPr>
          <p:nvPr>
            <p:ph type="body" idx="2"/>
          </p:nvPr>
        </p:nvSpPr>
        <p:spPr>
          <a:xfrm>
            <a:off x="1618678" y="972577"/>
            <a:ext cx="4657521" cy="4631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1600" tIns="45700" rIns="91425" bIns="45700" anchor="t" anchorCtr="0">
            <a:noAutofit/>
          </a:bodyPr>
          <a:lstStyle/>
          <a:p>
            <a:pPr marL="0" lvl="0" indent="0" algn="l" rtl="0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l-GR" sz="1400" dirty="0">
                <a:latin typeface="Segoe UI" panose="020B0502040204020203" pitchFamily="34" charset="0"/>
                <a:cs typeface="Segoe UI" panose="020B0502040204020203" pitchFamily="34" charset="0"/>
              </a:rPr>
              <a:t>Υπουργείο Υγείας </a:t>
            </a:r>
          </a:p>
        </p:txBody>
      </p:sp>
      <p:sp>
        <p:nvSpPr>
          <p:cNvPr id="2" name="Google Shape;173;p17">
            <a:extLst>
              <a:ext uri="{FF2B5EF4-FFF2-40B4-BE49-F238E27FC236}">
                <a16:creationId xmlns:a16="http://schemas.microsoft.com/office/drawing/2014/main" id="{5BC62526-D9F3-EF04-4C43-F01957023940}"/>
              </a:ext>
            </a:extLst>
          </p:cNvPr>
          <p:cNvSpPr txBox="1">
            <a:spLocks/>
          </p:cNvSpPr>
          <p:nvPr/>
        </p:nvSpPr>
        <p:spPr>
          <a:xfrm>
            <a:off x="414000" y="4193387"/>
            <a:ext cx="8385968" cy="185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l-GR" b="0" i="1" kern="0" dirty="0"/>
              <a:t>Η Δέσμευση του Υπουργείου Υγείας για Ποιότητα</a:t>
            </a:r>
            <a:r>
              <a:rPr lang="en-US" b="0" i="1" kern="0" dirty="0"/>
              <a:t>, </a:t>
            </a:r>
            <a:r>
              <a:rPr lang="el-GR" b="0" i="1" kern="0" dirty="0"/>
              <a:t>Ασφάλεια</a:t>
            </a:r>
            <a:r>
              <a:rPr lang="en-US" b="0" i="1" kern="0" dirty="0"/>
              <a:t> </a:t>
            </a:r>
            <a:r>
              <a:rPr lang="el-GR" b="0" i="1" kern="0" dirty="0"/>
              <a:t>και Διαφάνεια</a:t>
            </a:r>
          </a:p>
        </p:txBody>
      </p:sp>
    </p:spTree>
    <p:extLst>
      <p:ext uri="{BB962C8B-B14F-4D97-AF65-F5344CB8AC3E}">
        <p14:creationId xmlns:p14="http://schemas.microsoft.com/office/powerpoint/2010/main" val="9703788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69BA002F-EF78-4839-83D4-08EBB42B75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Το Πρόβλημα της </a:t>
            </a:r>
            <a:r>
              <a:rPr lang="el-GR" dirty="0" err="1"/>
              <a:t>Υπερσυνταγογράφησης</a:t>
            </a:r>
            <a:endParaRPr lang="el-GR" dirty="0"/>
          </a:p>
        </p:txBody>
      </p:sp>
      <p:sp>
        <p:nvSpPr>
          <p:cNvPr id="4" name="Θέση αριθμού διαφάνειας 3">
            <a:extLst>
              <a:ext uri="{FF2B5EF4-FFF2-40B4-BE49-F238E27FC236}">
                <a16:creationId xmlns:a16="http://schemas.microsoft.com/office/drawing/2014/main" id="{13BC0784-BAF6-4482-9B55-BFC07080D61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 smtClean="0"/>
              <a:t>2</a:t>
            </a:fld>
            <a:endParaRPr lang="el-GR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932EF5B-CFD9-907F-5531-D8F904BE76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7600" y="1015905"/>
            <a:ext cx="11343600" cy="5712441"/>
          </a:xfrm>
        </p:spPr>
        <p:txBody>
          <a:bodyPr anchor="ctr" anchorCtr="0"/>
          <a:lstStyle/>
          <a:p>
            <a:pPr marL="228600" indent="0">
              <a:spcBef>
                <a:spcPts val="600"/>
              </a:spcBef>
            </a:pPr>
            <a:r>
              <a:rPr lang="el-GR" sz="2000" dirty="0"/>
              <a:t>Οικονομικό βάρος:</a:t>
            </a:r>
            <a:endParaRPr lang="en-US" sz="2000" dirty="0"/>
          </a:p>
          <a:p>
            <a:pPr marL="5143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2000" dirty="0"/>
              <a:t>Αύξηση της φαρμακευτικής δαπάνης</a:t>
            </a:r>
            <a:r>
              <a:rPr lang="el-GR" sz="2000" b="0" dirty="0"/>
              <a:t>, επιβαρύνοντας τους ασφαλισμένους και τον προϋπολογισμό του ΕΟΠΥΥ</a:t>
            </a:r>
            <a:endParaRPr lang="en-US" sz="2000" b="0" dirty="0"/>
          </a:p>
          <a:p>
            <a:pPr marL="5143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2000" dirty="0"/>
              <a:t>Μείωση των διαθέσιμων πόρων </a:t>
            </a:r>
            <a:r>
              <a:rPr lang="el-GR" sz="2000" b="0" dirty="0"/>
              <a:t>που διατίθενται για άλλες υπηρεσίες υγείας</a:t>
            </a:r>
            <a:endParaRPr lang="en-US" sz="2000" b="0" dirty="0"/>
          </a:p>
          <a:p>
            <a:pPr marL="228600" indent="0">
              <a:spcBef>
                <a:spcPts val="600"/>
              </a:spcBef>
            </a:pPr>
            <a:r>
              <a:rPr lang="el-GR" sz="2000" dirty="0"/>
              <a:t>Κίνδυνος για την υγεία:</a:t>
            </a:r>
            <a:endParaRPr lang="en-US" sz="2000" dirty="0"/>
          </a:p>
          <a:p>
            <a:pPr marL="5143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2000" b="0" dirty="0"/>
              <a:t>Αυξημένος κίνδυνος για </a:t>
            </a:r>
            <a:r>
              <a:rPr lang="el-GR" sz="2000" dirty="0"/>
              <a:t>ανεπιθύμητες ενέργειες </a:t>
            </a:r>
            <a:r>
              <a:rPr lang="el-GR" sz="2000" b="0" dirty="0"/>
              <a:t>από τη λήψη περιττών φαρμάκων</a:t>
            </a:r>
            <a:endParaRPr lang="en-US" sz="2000" b="0" dirty="0"/>
          </a:p>
          <a:p>
            <a:pPr marL="5143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2000" b="0" dirty="0"/>
              <a:t>Αυξημένος κίνδυνος </a:t>
            </a:r>
            <a:r>
              <a:rPr lang="el-GR" sz="2000" dirty="0"/>
              <a:t>αλληλεπιδράσεων </a:t>
            </a:r>
            <a:r>
              <a:rPr lang="el-GR" sz="2000" b="0" dirty="0"/>
              <a:t>μεταξύ πολλών φαρμάκων, με αποτέλεσμα σοβαρές επιπλοκές</a:t>
            </a:r>
            <a:endParaRPr lang="en-US" sz="2000" b="0" dirty="0"/>
          </a:p>
          <a:p>
            <a:pPr marL="228600" indent="0">
              <a:spcBef>
                <a:spcPts val="600"/>
              </a:spcBef>
            </a:pPr>
            <a:r>
              <a:rPr lang="el-GR" sz="2000" dirty="0"/>
              <a:t>Ανήθικες πρακτικές:</a:t>
            </a:r>
            <a:endParaRPr lang="en-US" sz="2000" dirty="0"/>
          </a:p>
          <a:p>
            <a:pPr marL="5143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2000" b="0" dirty="0"/>
              <a:t>Σε ορισμένες περιπτώσεις, η υπερ- συνταγογράφηση μπορεί να σχετίζεται με </a:t>
            </a:r>
            <a:r>
              <a:rPr lang="el-GR" sz="2000" dirty="0"/>
              <a:t>οικονομικά κίνητρα </a:t>
            </a:r>
            <a:r>
              <a:rPr lang="el-GR" sz="2000" b="0" dirty="0"/>
              <a:t>για τους ιατρούς ή τα φαρμακεία</a:t>
            </a:r>
            <a:endParaRPr lang="en-US" sz="2000" b="0" dirty="0"/>
          </a:p>
          <a:p>
            <a:pPr marL="5143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2000" dirty="0"/>
              <a:t>Παραβίαση Ιατρικής Δεοντολογίας</a:t>
            </a:r>
            <a:endParaRPr lang="en-US" sz="2000" b="0" dirty="0"/>
          </a:p>
        </p:txBody>
      </p:sp>
    </p:spTree>
    <p:extLst>
      <p:ext uri="{BB962C8B-B14F-4D97-AF65-F5344CB8AC3E}">
        <p14:creationId xmlns:p14="http://schemas.microsoft.com/office/powerpoint/2010/main" val="26501726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B5E80C-D88C-6CA8-7A06-3F077C49E1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19D9694A-C280-3E30-148A-8053198BCC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Η Λύση μας: Εποπτεία βασισμένη σε πραγματικά δεδομένα χάρη στα νέα συστήματα της ΗΔΙΚΑ κατά της απάτης</a:t>
            </a:r>
          </a:p>
        </p:txBody>
      </p:sp>
      <p:sp>
        <p:nvSpPr>
          <p:cNvPr id="4" name="Θέση αριθμού διαφάνειας 3">
            <a:extLst>
              <a:ext uri="{FF2B5EF4-FFF2-40B4-BE49-F238E27FC236}">
                <a16:creationId xmlns:a16="http://schemas.microsoft.com/office/drawing/2014/main" id="{6855A566-0BA8-BDC6-A648-D7A4E1BBF25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3</a:t>
            </a:fld>
            <a:endParaRPr kumimoji="0" lang="el-G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3B6589B-790D-8F83-1D70-918B3038A2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7600" y="1145559"/>
            <a:ext cx="11343600" cy="5712441"/>
          </a:xfrm>
        </p:spPr>
        <p:txBody>
          <a:bodyPr anchor="ctr" anchorCtr="0"/>
          <a:lstStyle/>
          <a:p>
            <a:pPr marL="228600" indent="0" algn="just">
              <a:spcBef>
                <a:spcPts val="600"/>
              </a:spcBef>
            </a:pPr>
            <a:r>
              <a:rPr lang="el-GR" dirty="0">
                <a:solidFill>
                  <a:schemeClr val="tx1"/>
                </a:solidFill>
              </a:rPr>
              <a:t>Διαρκής καταγραφή και παρακολούθηση μέσω προηγμένων μεθόδων ανάλυσης μεγάλου όγκου Δεδομένων:</a:t>
            </a:r>
            <a:endParaRPr lang="en-US" dirty="0">
              <a:solidFill>
                <a:schemeClr val="tx1"/>
              </a:solidFill>
            </a:endParaRPr>
          </a:p>
          <a:p>
            <a:pPr marL="5143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1600" b="0" dirty="0">
                <a:solidFill>
                  <a:schemeClr val="tx1"/>
                </a:solidFill>
              </a:rPr>
              <a:t>Εφαρμογή προηγμένων στατιστικών μεθοδολογιών για την παρακολούθηση της συχνότητας συνταγογράφησης ανά ειδικότητα, τη σύγκριση με την πρακτική άλλων συναδέλφων ιδίας ειδικότητας και τον εντοπισμό αποκλίσεων</a:t>
            </a:r>
            <a:endParaRPr lang="en-US" sz="1600" b="0" dirty="0">
              <a:solidFill>
                <a:schemeClr val="tx1"/>
              </a:solidFill>
            </a:endParaRPr>
          </a:p>
          <a:p>
            <a:pPr marL="228600" indent="0" algn="just">
              <a:spcBef>
                <a:spcPts val="600"/>
              </a:spcBef>
            </a:pPr>
            <a:r>
              <a:rPr lang="el-GR" dirty="0"/>
              <a:t>Παρακολούθηση συνταγών σε πραγματικό χρόνο:</a:t>
            </a:r>
            <a:endParaRPr lang="en-US" dirty="0"/>
          </a:p>
          <a:p>
            <a:pPr marL="5143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1600" b="0" dirty="0">
                <a:solidFill>
                  <a:schemeClr val="tx1"/>
                </a:solidFill>
              </a:rPr>
              <a:t>Ύπαρξη συστήματος παρακολούθησης της συνταγογράφησης σε πραγματικό χρόνο και τη λήψη άμεσης ενημέρωσης για πιθανά «προβλήματα»</a:t>
            </a:r>
          </a:p>
          <a:p>
            <a:pPr marL="5143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1600" b="0" dirty="0">
                <a:solidFill>
                  <a:schemeClr val="tx1"/>
                </a:solidFill>
              </a:rPr>
              <a:t>Παρακολούθηση βασικών δεικτών, όπως το πλήθος και η αξία των συνταγών, η συχνότητα ανανέωσής τους ανά ιατρική ειδικότητα, φαρμακείο και ασθενή</a:t>
            </a:r>
            <a:endParaRPr lang="en-US" sz="1600" b="0" dirty="0">
              <a:solidFill>
                <a:schemeClr val="tx1"/>
              </a:solidFill>
            </a:endParaRPr>
          </a:p>
          <a:p>
            <a:pPr marL="228600" indent="0" algn="just">
              <a:spcBef>
                <a:spcPts val="600"/>
              </a:spcBef>
            </a:pPr>
            <a:r>
              <a:rPr lang="el-GR" dirty="0"/>
              <a:t>Εντοπισμός προτύπων και αποκλίσεων:</a:t>
            </a:r>
            <a:endParaRPr lang="en-US" dirty="0"/>
          </a:p>
          <a:p>
            <a:pPr marL="5143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1600" b="0" u="sng" dirty="0"/>
              <a:t>Ασυνήθιστες συμπεριφορές</a:t>
            </a:r>
            <a:r>
              <a:rPr lang="el-GR" sz="1600" b="0" dirty="0"/>
              <a:t>: </a:t>
            </a:r>
            <a:r>
              <a:rPr lang="el-GR" sz="1600" b="0" dirty="0">
                <a:solidFill>
                  <a:schemeClr val="tx1"/>
                </a:solidFill>
              </a:rPr>
              <a:t>Εντοπισμός ιατρών και ειδικοτήτων που παρουσιάζουν ασυνήθιστες συμπεριφορές, όπως η συνταγογράφηση των ίδιων φαρμάκων σε πολλούς ασθενείς ή η συνταγογράφηση φαρμάκων εκτός ενδείξεων</a:t>
            </a:r>
            <a:endParaRPr lang="en-US" sz="1600" b="0" dirty="0">
              <a:solidFill>
                <a:schemeClr val="tx1"/>
              </a:solidFill>
            </a:endParaRPr>
          </a:p>
          <a:p>
            <a:pPr marL="5143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1600" b="0" u="sng" dirty="0">
                <a:solidFill>
                  <a:schemeClr val="tx1"/>
                </a:solidFill>
              </a:rPr>
              <a:t>Υπερβολικές ποσότητες</a:t>
            </a:r>
            <a:r>
              <a:rPr lang="el-GR" sz="1600" b="0" dirty="0">
                <a:solidFill>
                  <a:schemeClr val="tx1"/>
                </a:solidFill>
              </a:rPr>
              <a:t>: Εντοπισμός ιατρών και ειδικοτήτων που συνταγογραφούν ασυνήθιστα μεγάλες ποσότητες φαρμάκων</a:t>
            </a:r>
          </a:p>
          <a:p>
            <a:pPr marL="5143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1600" b="0" u="sng" dirty="0">
                <a:solidFill>
                  <a:schemeClr val="tx1"/>
                </a:solidFill>
              </a:rPr>
              <a:t>Συχνές ανανεώσεις</a:t>
            </a:r>
            <a:r>
              <a:rPr lang="el-GR" sz="1600" b="0" dirty="0">
                <a:solidFill>
                  <a:schemeClr val="tx1"/>
                </a:solidFill>
              </a:rPr>
              <a:t>: Παρακολούθηση ιατρών και ειδικοτήτων που ανανεώνουν συχνά τις συνταγές, ακόμα και όταν δεν υπάρχει ιατρική ένδειξη</a:t>
            </a:r>
          </a:p>
          <a:p>
            <a:pPr marL="5143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1600" b="0" u="sng" dirty="0">
                <a:solidFill>
                  <a:schemeClr val="tx1"/>
                </a:solidFill>
              </a:rPr>
              <a:t>Ακατάλληλοι συνδυασμοί</a:t>
            </a:r>
            <a:r>
              <a:rPr lang="el-GR" sz="1600" b="0" dirty="0">
                <a:solidFill>
                  <a:schemeClr val="tx1"/>
                </a:solidFill>
              </a:rPr>
              <a:t>: Εντοπισμός συνταγογραφήσεων που περιλαμβάνουν συνδυασμούς φαρμάκων που μπορεί να προκαλέσουν αλληλεπιδράσεις ή ανεπιθύμητες ενέργειες</a:t>
            </a:r>
          </a:p>
        </p:txBody>
      </p:sp>
    </p:spTree>
    <p:extLst>
      <p:ext uri="{BB962C8B-B14F-4D97-AF65-F5344CB8AC3E}">
        <p14:creationId xmlns:p14="http://schemas.microsoft.com/office/powerpoint/2010/main" val="5239881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C782A6-E28C-BB58-FA60-5D479DDA16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BEFB6BCB-212D-3317-C189-C0EDC9E453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600" y="399600"/>
            <a:ext cx="11343600" cy="835642"/>
          </a:xfrm>
        </p:spPr>
        <p:txBody>
          <a:bodyPr/>
          <a:lstStyle/>
          <a:p>
            <a:pPr algn="just"/>
            <a:r>
              <a:rPr lang="el-GR" dirty="0"/>
              <a:t>Τα νέα συστήματα της ΗΔΙΚΑ κατά της απάτης μας προσφέρουν ένα μεγάλο όγκο δεδομένων για οποιαδήποτε συνταγή και ασθενή</a:t>
            </a:r>
          </a:p>
        </p:txBody>
      </p:sp>
      <p:sp>
        <p:nvSpPr>
          <p:cNvPr id="4" name="Θέση αριθμού διαφάνειας 3">
            <a:extLst>
              <a:ext uri="{FF2B5EF4-FFF2-40B4-BE49-F238E27FC236}">
                <a16:creationId xmlns:a16="http://schemas.microsoft.com/office/drawing/2014/main" id="{5D067EF8-CE02-4A08-5584-BEB8E1927325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4</a:t>
            </a:fld>
            <a:endParaRPr kumimoji="0" lang="el-G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2729D5AC-BE61-C4F9-9966-A51D43A56E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36201065"/>
              </p:ext>
            </p:extLst>
          </p:nvPr>
        </p:nvGraphicFramePr>
        <p:xfrm>
          <a:off x="246927" y="1213868"/>
          <a:ext cx="11504945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664249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61C6E8-F2B9-35B5-F53F-262ADC2797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765AE8F2-9A39-45B0-B144-7367891F13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600" y="399600"/>
            <a:ext cx="11343600" cy="520494"/>
          </a:xfrm>
        </p:spPr>
        <p:txBody>
          <a:bodyPr/>
          <a:lstStyle/>
          <a:p>
            <a:r>
              <a:rPr lang="el-GR" dirty="0"/>
              <a:t>Κύριοι τομείς εστίασης: Στοχεύοντας στη βάση του προβλήματος</a:t>
            </a:r>
          </a:p>
        </p:txBody>
      </p:sp>
      <p:sp>
        <p:nvSpPr>
          <p:cNvPr id="4" name="Θέση αριθμού διαφάνειας 3">
            <a:extLst>
              <a:ext uri="{FF2B5EF4-FFF2-40B4-BE49-F238E27FC236}">
                <a16:creationId xmlns:a16="http://schemas.microsoft.com/office/drawing/2014/main" id="{CFEB5836-AC73-DD43-B2CE-1CCAAAD05079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5</a:t>
            </a:fld>
            <a:endParaRPr kumimoji="0" lang="el-G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9F3E11E-1A51-85CF-FEE4-9104FCA1B6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7600" y="1015905"/>
            <a:ext cx="11343600" cy="5712441"/>
          </a:xfrm>
        </p:spPr>
        <p:txBody>
          <a:bodyPr anchor="ctr" anchorCtr="0"/>
          <a:lstStyle/>
          <a:p>
            <a:pPr marL="228600" indent="0" algn="just">
              <a:spcBef>
                <a:spcPts val="600"/>
              </a:spcBef>
            </a:pPr>
            <a:r>
              <a:rPr lang="el-GR" sz="2000" dirty="0"/>
              <a:t>Υπερβολικές Ποσότητες:</a:t>
            </a:r>
            <a:endParaRPr lang="en-US" sz="2000" dirty="0"/>
          </a:p>
          <a:p>
            <a:pPr marL="5143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2000" dirty="0"/>
              <a:t>Μεγάλες ποσότητες φαρμάκων</a:t>
            </a:r>
            <a:r>
              <a:rPr lang="el-GR" sz="2000" b="0" dirty="0"/>
              <a:t>: </a:t>
            </a:r>
            <a:r>
              <a:rPr lang="el-GR" sz="2000" b="0" dirty="0">
                <a:solidFill>
                  <a:schemeClr val="tx1"/>
                </a:solidFill>
              </a:rPr>
              <a:t>Εντοπισμός συνταγών που περιέχουν ασυνήθιστα μεγάλες ποσότητες φαρμάκων για την αντιμετώπιση μιας συγκεκριμένης πάθησης</a:t>
            </a:r>
            <a:endParaRPr lang="en-US" sz="2000" b="0" dirty="0">
              <a:solidFill>
                <a:schemeClr val="tx1"/>
              </a:solidFill>
            </a:endParaRPr>
          </a:p>
          <a:p>
            <a:pPr marL="5143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2000" dirty="0">
                <a:solidFill>
                  <a:schemeClr val="tx1"/>
                </a:solidFill>
              </a:rPr>
              <a:t>Παροχή φαρμάκων για μεγάλες χρονικές περιόδους</a:t>
            </a:r>
            <a:r>
              <a:rPr lang="el-GR" sz="2000" b="0" dirty="0">
                <a:solidFill>
                  <a:schemeClr val="tx1"/>
                </a:solidFill>
              </a:rPr>
              <a:t>: Εντοπισμός συνταγών που καλύπτουν μεγάλες χρονικές περιόδους, πέρα από τη συνήθη κλινική πρακτική και τις ιατρικές οδηγίες</a:t>
            </a:r>
            <a:endParaRPr lang="en-US" sz="2000" b="0" dirty="0">
              <a:solidFill>
                <a:schemeClr val="tx1"/>
              </a:solidFill>
            </a:endParaRPr>
          </a:p>
          <a:p>
            <a:pPr marL="228600" indent="0" algn="just">
              <a:spcBef>
                <a:spcPts val="600"/>
              </a:spcBef>
            </a:pPr>
            <a:r>
              <a:rPr lang="el-GR" sz="2000" dirty="0"/>
              <a:t>Συχνές Ανανεώσεις:</a:t>
            </a:r>
            <a:endParaRPr lang="en-US" sz="2000" dirty="0"/>
          </a:p>
          <a:p>
            <a:pPr marL="5143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2000" dirty="0"/>
              <a:t>Συχνές επαναλήψεις συνταγών</a:t>
            </a:r>
            <a:r>
              <a:rPr lang="el-GR" sz="2000" b="0" dirty="0"/>
              <a:t>: Ασυνήθιστα συχνή ανανέωση συνταγών χωρίς σαφή ιατρική αιτιολόγηση</a:t>
            </a:r>
            <a:endParaRPr lang="en-US" sz="2000" b="0" dirty="0"/>
          </a:p>
          <a:p>
            <a:pPr marL="5143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2000" dirty="0"/>
              <a:t>Μικρές ποσότητες ανά ανανέωση</a:t>
            </a:r>
            <a:r>
              <a:rPr lang="el-GR" sz="2000" b="0" dirty="0"/>
              <a:t>: Συνταγές για μικρές ποσότητες φαρμάκων που ανανεώνονται συχνά, υποδηλώνοντας πιθανή κατάχρηση</a:t>
            </a:r>
            <a:endParaRPr lang="en-US" sz="2000" b="0" dirty="0"/>
          </a:p>
          <a:p>
            <a:pPr marL="228600" indent="0" algn="just">
              <a:spcBef>
                <a:spcPts val="600"/>
              </a:spcBef>
            </a:pPr>
            <a:r>
              <a:rPr lang="el-GR" sz="2000" dirty="0"/>
              <a:t>Υποψίες Απάτης:</a:t>
            </a:r>
            <a:endParaRPr lang="en-US" sz="2000" dirty="0"/>
          </a:p>
          <a:p>
            <a:pPr marL="5143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2000" dirty="0"/>
              <a:t>Συνταγές σε συγκεκριμένα φαρμακεία</a:t>
            </a:r>
            <a:r>
              <a:rPr lang="el-GR" sz="2000" b="0" dirty="0"/>
              <a:t>: Συγκέντρωση συνταγών σε συγκεκριμένα φαρμακεία, υποδηλώνοντας πιθανές συμφωνίες μεταξύ ιατρών- φαρμακείων</a:t>
            </a:r>
            <a:endParaRPr lang="en-US" sz="2000" b="0" dirty="0"/>
          </a:p>
          <a:p>
            <a:pPr marL="5143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2000" dirty="0"/>
              <a:t>Συνταγές σε συγκεκριμένους ασθενείς</a:t>
            </a:r>
            <a:r>
              <a:rPr lang="el-GR" sz="2000" b="0" dirty="0"/>
              <a:t>: Συχνή συνταγογράφηση σε συγκεκριμένους ασθενείς, χωρίς σαφή ιατρική αιτιολόγηση</a:t>
            </a:r>
            <a:endParaRPr lang="en-US" sz="2000" b="0" dirty="0"/>
          </a:p>
        </p:txBody>
      </p:sp>
    </p:spTree>
    <p:extLst>
      <p:ext uri="{BB962C8B-B14F-4D97-AF65-F5344CB8AC3E}">
        <p14:creationId xmlns:p14="http://schemas.microsoft.com/office/powerpoint/2010/main" val="10437971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121E01-2662-B932-71D9-946318EA97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88664819-629A-1BE5-C122-23A9EA6AA5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Τα Επιτεύγματά μας: Σημαντική πρόοδος το 2024</a:t>
            </a:r>
          </a:p>
        </p:txBody>
      </p:sp>
      <p:sp>
        <p:nvSpPr>
          <p:cNvPr id="4" name="Θέση αριθμού διαφάνειας 3">
            <a:extLst>
              <a:ext uri="{FF2B5EF4-FFF2-40B4-BE49-F238E27FC236}">
                <a16:creationId xmlns:a16="http://schemas.microsoft.com/office/drawing/2014/main" id="{DC6EBD0E-2473-774B-5E84-71EF46D99449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6</a:t>
            </a:fld>
            <a:endParaRPr kumimoji="0" lang="el-G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889B1D05-2FCE-ADC9-2783-11AF6C2AEF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036" y="1234800"/>
            <a:ext cx="11343600" cy="3546186"/>
          </a:xfr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 anchorCtr="0"/>
          <a:lstStyle/>
          <a:p>
            <a:pPr marL="228600" indent="0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el-GR" sz="2000" i="1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Το Υπουργείο Υγείας ανακοινώνει τον εντοπισμό περισσότερων από 100 νέων περιπτώσεων ιατρών που φαίνεται να έχουν </a:t>
            </a:r>
            <a:r>
              <a:rPr lang="el-GR" sz="2000" i="1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υπερσυνταγογραφήσει</a:t>
            </a:r>
            <a:r>
              <a:rPr lang="el-GR" sz="2000" i="1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φάρμακα σε βάρος του ΕΟΠΥΥ. </a:t>
            </a:r>
            <a:endParaRPr lang="en-US" sz="2000" i="1" dirty="0">
              <a:effectLst/>
              <a:latin typeface="Aptos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marL="228600" indent="0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endParaRPr lang="el-GR" sz="2000" i="1" dirty="0">
              <a:effectLst/>
              <a:latin typeface="Aptos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marL="228600" indent="0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el-GR" sz="2000" i="1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Η πρόσφατη ανάλυση έδειξε ότι, κατά το πρώτο οχτάμηνο του έτους, αυτοί οι 100 ιατροί </a:t>
            </a:r>
            <a:r>
              <a:rPr lang="el-GR" sz="2000" i="1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συνταγογράφησαν</a:t>
            </a:r>
            <a:r>
              <a:rPr lang="el-GR" sz="2000" i="1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μεταξύ 250 και 422 διαφορετικά φάρμακα  ανά ασθενή (ΑΜΚΑ) με ποσότητες που κυμαίνονταν από 250 έως 1630 τεμάχια.</a:t>
            </a:r>
            <a:endParaRPr lang="en-US" sz="2000" i="1" dirty="0">
              <a:effectLst/>
              <a:latin typeface="Aptos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4862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C7F5D3-5643-6F10-356A-AD4D3E2B81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F8FD74EB-F1B5-2447-F4CF-99834043C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Χαρακτηριστικές περιπτώσεις</a:t>
            </a:r>
          </a:p>
        </p:txBody>
      </p:sp>
      <p:sp>
        <p:nvSpPr>
          <p:cNvPr id="4" name="Θέση αριθμού διαφάνειας 3">
            <a:extLst>
              <a:ext uri="{FF2B5EF4-FFF2-40B4-BE49-F238E27FC236}">
                <a16:creationId xmlns:a16="http://schemas.microsoft.com/office/drawing/2014/main" id="{3C9909A5-DE87-EF1A-767E-DA86F347383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7</a:t>
            </a:fld>
            <a:endParaRPr kumimoji="0" lang="el-G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4E4F8BD7-A84E-6EB8-8F54-5D49E2989B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7600" y="920094"/>
            <a:ext cx="11343600" cy="5712441"/>
          </a:xfrm>
        </p:spPr>
        <p:txBody>
          <a:bodyPr anchor="t" anchorCtr="0"/>
          <a:lstStyle/>
          <a:p>
            <a:pPr marL="571500" lvl="0" indent="-342900">
              <a:spcBef>
                <a:spcPts val="600"/>
              </a:spcBef>
              <a:buFont typeface="+mj-lt"/>
              <a:buAutoNum type="arabicPeriod"/>
            </a:pPr>
            <a:r>
              <a:rPr lang="el-GR" sz="1600" b="0" dirty="0"/>
              <a:t>Παθολόγος στην Γλυφάδα </a:t>
            </a:r>
            <a:r>
              <a:rPr lang="el-GR" sz="1600" b="0" dirty="0" err="1"/>
              <a:t>συνταγογράφησε</a:t>
            </a:r>
            <a:r>
              <a:rPr lang="el-GR" sz="1600" b="0" dirty="0"/>
              <a:t> 221 διαφορετικά σκευάσματα σε ποσότητα </a:t>
            </a:r>
            <a:r>
              <a:rPr lang="el-GR" sz="1600" dirty="0"/>
              <a:t>1621 τεμαχίων στη μητέρα </a:t>
            </a:r>
            <a:r>
              <a:rPr lang="el-GR" sz="1600" b="0" dirty="0"/>
              <a:t>της και όλα </a:t>
            </a:r>
            <a:r>
              <a:rPr lang="el-GR" sz="1600" dirty="0"/>
              <a:t>εκτελέστηκαν στο ίδιο φαρμακείο</a:t>
            </a:r>
            <a:endParaRPr lang="en-US" sz="1600" dirty="0"/>
          </a:p>
          <a:p>
            <a:pPr marL="571500" lvl="0" indent="-342900">
              <a:spcBef>
                <a:spcPts val="600"/>
              </a:spcBef>
              <a:buFont typeface="+mj-lt"/>
              <a:buAutoNum type="arabicPeriod"/>
            </a:pPr>
            <a:r>
              <a:rPr lang="el-GR" sz="1600" b="0" dirty="0"/>
              <a:t>Παθολόγος σε Κέντρο Υγείας στη Μυτιλήνη που </a:t>
            </a:r>
            <a:r>
              <a:rPr lang="el-GR" sz="1600" dirty="0" err="1"/>
              <a:t>συνταγογράφησε</a:t>
            </a:r>
            <a:r>
              <a:rPr lang="el-GR" sz="1600" dirty="0"/>
              <a:t> βραδινές μόνο ώρες 705 διαφορετικά σκευάσματα </a:t>
            </a:r>
            <a:r>
              <a:rPr lang="el-GR" sz="1600" b="0" dirty="0"/>
              <a:t>σε ποσότητα 1818 τεμαχίων </a:t>
            </a:r>
            <a:r>
              <a:rPr lang="el-GR" sz="1600" dirty="0"/>
              <a:t>στον άνδρα της, στις δυο κόρες της αλλά και στον εαυτό της</a:t>
            </a:r>
            <a:r>
              <a:rPr lang="el-GR" sz="1600" b="0" dirty="0"/>
              <a:t>.</a:t>
            </a:r>
            <a:endParaRPr lang="en-US" sz="1600" b="0" dirty="0"/>
          </a:p>
          <a:p>
            <a:pPr marL="571500" lvl="0" indent="-342900">
              <a:spcBef>
                <a:spcPts val="600"/>
              </a:spcBef>
              <a:buFont typeface="+mj-lt"/>
              <a:buAutoNum type="arabicPeriod"/>
            </a:pPr>
            <a:r>
              <a:rPr lang="el-GR" sz="1600" b="0" dirty="0"/>
              <a:t>Καρδιολόγος στη Νέα </a:t>
            </a:r>
            <a:r>
              <a:rPr lang="el-GR" sz="1600" b="0" dirty="0" err="1"/>
              <a:t>Μηχανιώνα</a:t>
            </a:r>
            <a:r>
              <a:rPr lang="el-GR" sz="1600" b="0" dirty="0"/>
              <a:t> </a:t>
            </a:r>
            <a:r>
              <a:rPr lang="el-GR" sz="1600" dirty="0"/>
              <a:t>που </a:t>
            </a:r>
            <a:r>
              <a:rPr lang="el-GR" sz="1600" dirty="0" err="1"/>
              <a:t>συνταγογράφησε</a:t>
            </a:r>
            <a:r>
              <a:rPr lang="el-GR" sz="1600" dirty="0"/>
              <a:t> σε 2 αλλοδαπούς 500 διαφορετικά σκευάσματα</a:t>
            </a:r>
            <a:r>
              <a:rPr lang="el-GR" sz="1600" b="0" dirty="0"/>
              <a:t> σε ποσότητα 925 τεμαχίων</a:t>
            </a:r>
            <a:endParaRPr lang="en-US" sz="1600" b="0" dirty="0"/>
          </a:p>
          <a:p>
            <a:pPr marL="571500" lvl="0" indent="-342900">
              <a:spcBef>
                <a:spcPts val="600"/>
              </a:spcBef>
              <a:buFont typeface="+mj-lt"/>
              <a:buAutoNum type="arabicPeriod"/>
            </a:pPr>
            <a:r>
              <a:rPr lang="el-GR" sz="1600" b="0" dirty="0"/>
              <a:t>Γενικός ιατρός στην Μυτιλήνη που </a:t>
            </a:r>
            <a:r>
              <a:rPr lang="el-GR" sz="1600" dirty="0" err="1"/>
              <a:t>συνταγογράφησε</a:t>
            </a:r>
            <a:r>
              <a:rPr lang="el-GR" sz="1600" dirty="0"/>
              <a:t> σε συγγενή του 258 σκευάσματα σε ποσότητα 704 τεμαχίων</a:t>
            </a:r>
            <a:r>
              <a:rPr lang="el-GR" sz="1600" b="0" dirty="0"/>
              <a:t>, τα οποία όλα </a:t>
            </a:r>
            <a:r>
              <a:rPr lang="el-GR" sz="1600" dirty="0"/>
              <a:t>εκτελέστηκαν σε φαρμακείο συγγενή του ασθενή</a:t>
            </a:r>
            <a:endParaRPr lang="en-US" sz="1600" dirty="0"/>
          </a:p>
          <a:p>
            <a:pPr marL="571500" lvl="0" indent="-342900">
              <a:spcBef>
                <a:spcPts val="600"/>
              </a:spcBef>
              <a:buFont typeface="+mj-lt"/>
              <a:buAutoNum type="arabicPeriod"/>
            </a:pPr>
            <a:r>
              <a:rPr lang="el-GR" sz="1600" b="0" dirty="0"/>
              <a:t>Παθολόγος στην Αθήνα που </a:t>
            </a:r>
            <a:r>
              <a:rPr lang="el-GR" sz="1600" b="0" dirty="0" err="1"/>
              <a:t>συνταγογράφησε</a:t>
            </a:r>
            <a:r>
              <a:rPr lang="el-GR" sz="1600" b="0" dirty="0"/>
              <a:t> </a:t>
            </a:r>
            <a:r>
              <a:rPr lang="el-GR" sz="1600" dirty="0"/>
              <a:t>σε ένα ασθενή 362 σκευάσματα σε ποσότητα 686 τεμαχίων</a:t>
            </a:r>
            <a:r>
              <a:rPr lang="el-GR" sz="1600" b="0" dirty="0"/>
              <a:t>, τα οποία όλα εκτελέστηκαν </a:t>
            </a:r>
            <a:r>
              <a:rPr lang="el-GR" sz="1600" dirty="0"/>
              <a:t>σε φαρμακείο συγγενή του ασθενή</a:t>
            </a:r>
            <a:endParaRPr lang="en-US" sz="1600" dirty="0"/>
          </a:p>
          <a:p>
            <a:pPr marL="571500" lvl="0" indent="-342900">
              <a:spcBef>
                <a:spcPts val="600"/>
              </a:spcBef>
              <a:buFont typeface="+mj-lt"/>
              <a:buAutoNum type="arabicPeriod"/>
            </a:pPr>
            <a:r>
              <a:rPr lang="el-GR" sz="1600" dirty="0"/>
              <a:t>Παιδίατρος</a:t>
            </a:r>
            <a:r>
              <a:rPr lang="el-GR" sz="1600" b="0" dirty="0"/>
              <a:t> στη Θεσσαλονίκη που </a:t>
            </a:r>
            <a:r>
              <a:rPr lang="el-GR" sz="1600" b="0" dirty="0" err="1"/>
              <a:t>συνταγογράφησε</a:t>
            </a:r>
            <a:r>
              <a:rPr lang="el-GR" sz="1600" b="0" dirty="0"/>
              <a:t> 300 διαφορετικά σκευάσματα σε ποσότητα 1350 τεμαχίων για </a:t>
            </a:r>
            <a:r>
              <a:rPr lang="el-GR" sz="1600" dirty="0"/>
              <a:t>4 παιδιά που είναι μέλη συγκεκριμένου αθλητικού συλλόγου</a:t>
            </a:r>
            <a:r>
              <a:rPr lang="el-GR" sz="1600" b="0" dirty="0"/>
              <a:t>, εκτελώντας όλες τις συνταγές σε ένα κεντρικό φαρμακείο της περιοχής.</a:t>
            </a:r>
            <a:endParaRPr lang="en-US" sz="1600" b="0" dirty="0"/>
          </a:p>
          <a:p>
            <a:pPr marL="571500" lvl="0" indent="-342900">
              <a:spcBef>
                <a:spcPts val="600"/>
              </a:spcBef>
              <a:buFont typeface="+mj-lt"/>
              <a:buAutoNum type="arabicPeriod"/>
            </a:pPr>
            <a:r>
              <a:rPr lang="el-GR" sz="1600" dirty="0"/>
              <a:t>Ψυχίατρος στην Αθήνα που </a:t>
            </a:r>
            <a:r>
              <a:rPr lang="el-GR" sz="1600" dirty="0" err="1"/>
              <a:t>συνταγογράφησε</a:t>
            </a:r>
            <a:r>
              <a:rPr lang="el-GR" sz="1600" dirty="0"/>
              <a:t> σε δέκα ασθενείς του 450 διαφορετικά φάρμακα </a:t>
            </a:r>
            <a:r>
              <a:rPr lang="el-GR" sz="1600" b="0" dirty="0"/>
              <a:t>σε συνολική ποσότητα 980 τεμαχίων.</a:t>
            </a:r>
            <a:endParaRPr lang="en-US" sz="1600" b="0" dirty="0"/>
          </a:p>
          <a:p>
            <a:pPr marL="571500" lvl="0" indent="-342900">
              <a:spcBef>
                <a:spcPts val="600"/>
              </a:spcBef>
              <a:buFont typeface="+mj-lt"/>
              <a:buAutoNum type="arabicPeriod"/>
            </a:pPr>
            <a:r>
              <a:rPr lang="el-GR" sz="1600" b="0" dirty="0"/>
              <a:t>Ορθοπεδικός στην Πάτρα που </a:t>
            </a:r>
            <a:r>
              <a:rPr lang="el-GR" sz="1600" dirty="0" err="1"/>
              <a:t>συνταγογράφησε</a:t>
            </a:r>
            <a:r>
              <a:rPr lang="el-GR" sz="1600" dirty="0"/>
              <a:t> σε 4 ασθενείς του 320 διαφορετικά σκευάσματα σε ποσότητα 1760 τεμαχίων</a:t>
            </a:r>
            <a:r>
              <a:rPr lang="el-GR" sz="1600" b="0" dirty="0"/>
              <a:t>, εστιάζοντας σε </a:t>
            </a:r>
            <a:r>
              <a:rPr lang="el-GR" sz="1600" dirty="0"/>
              <a:t>αντιφλεγμονώδη και αναλγητικά φάρμακα για τη θεραπεία τραυματισμών</a:t>
            </a:r>
            <a:r>
              <a:rPr lang="el-GR" sz="1600" b="0" dirty="0"/>
              <a:t>.</a:t>
            </a:r>
            <a:endParaRPr lang="en-US" sz="1600" b="0" dirty="0"/>
          </a:p>
          <a:p>
            <a:pPr marL="571500" lvl="0" indent="-342900">
              <a:spcBef>
                <a:spcPts val="600"/>
              </a:spcBef>
              <a:buFont typeface="+mj-lt"/>
              <a:buAutoNum type="arabicPeriod"/>
            </a:pPr>
            <a:r>
              <a:rPr lang="el-GR" sz="1600" b="0" dirty="0"/>
              <a:t>Δερματολόγος στο Ηράκλειο που ειδικεύεται στη θεραπεία χρόνιων δερματικών παθήσεων, </a:t>
            </a:r>
            <a:r>
              <a:rPr lang="el-GR" sz="1600" b="0" dirty="0" err="1"/>
              <a:t>συνταγογράφησε</a:t>
            </a:r>
            <a:r>
              <a:rPr lang="el-GR" sz="1600" b="0" dirty="0"/>
              <a:t> 275 διαφορετικά φάρμακα σε ποσότητα 1500 τεμαχίων, στοχεύοντας σε προσαρμοσμένες θεραπείες για κάθε ασθενή.</a:t>
            </a:r>
            <a:endParaRPr lang="en-US" sz="1600" b="0" dirty="0"/>
          </a:p>
          <a:p>
            <a:pPr marL="571500" lvl="0" indent="-342900">
              <a:spcBef>
                <a:spcPts val="600"/>
              </a:spcBef>
              <a:buFont typeface="+mj-lt"/>
              <a:buAutoNum type="arabicPeriod"/>
            </a:pPr>
            <a:r>
              <a:rPr lang="el-GR" sz="1600" b="0" dirty="0"/>
              <a:t>Γυναικολόγος στη Λάρισα που </a:t>
            </a:r>
            <a:r>
              <a:rPr lang="el-GR" sz="1600" b="0" dirty="0" err="1"/>
              <a:t>συνταγογράφησε</a:t>
            </a:r>
            <a:r>
              <a:rPr lang="el-GR" sz="1600" b="0" dirty="0"/>
              <a:t> 200 διαφορετικά σκευάσματα σε ποσότητα 1100 τεμαχίων, προσφέροντας εξειδικευμένη φροντίδα </a:t>
            </a:r>
            <a:r>
              <a:rPr lang="el-GR" sz="1600" dirty="0"/>
              <a:t>σε εγκύους και γυναίκες σε εμμηνόπαυση</a:t>
            </a:r>
            <a:r>
              <a:rPr lang="el-GR" sz="1600" b="0" dirty="0"/>
              <a:t>.</a:t>
            </a:r>
            <a:endParaRPr lang="en-US" sz="1600" b="0" dirty="0"/>
          </a:p>
          <a:p>
            <a:pPr marL="228600" indent="0">
              <a:spcBef>
                <a:spcPts val="600"/>
              </a:spcBef>
            </a:pPr>
            <a:endParaRPr lang="en-US" sz="1600" b="0" dirty="0"/>
          </a:p>
        </p:txBody>
      </p:sp>
    </p:spTree>
    <p:extLst>
      <p:ext uri="{BB962C8B-B14F-4D97-AF65-F5344CB8AC3E}">
        <p14:creationId xmlns:p14="http://schemas.microsoft.com/office/powerpoint/2010/main" val="30226226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345997-1980-6770-959D-8C1B3767A0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0E6EC3E6-3A68-6AE4-B69D-40F4B98382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Μηδενική ανοχή στην Υπερ- συνταγογράφηση: Μια δέσμευση για την προστασία της δημόσιας υγείας</a:t>
            </a:r>
          </a:p>
        </p:txBody>
      </p:sp>
      <p:sp>
        <p:nvSpPr>
          <p:cNvPr id="4" name="Θέση αριθμού διαφάνειας 3">
            <a:extLst>
              <a:ext uri="{FF2B5EF4-FFF2-40B4-BE49-F238E27FC236}">
                <a16:creationId xmlns:a16="http://schemas.microsoft.com/office/drawing/2014/main" id="{367C729D-5A0B-DAD7-23AD-634012AC23F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8</a:t>
            </a:fld>
            <a:endParaRPr kumimoji="0" lang="el-G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FB3761E8-B0B3-3D63-BDA5-07C55D8F80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21783292"/>
              </p:ext>
            </p:extLst>
          </p:nvPr>
        </p:nvGraphicFramePr>
        <p:xfrm>
          <a:off x="880989" y="1695740"/>
          <a:ext cx="10211883" cy="38460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9886417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LASTSLIDEVIEWED" val="1093,10,Slide83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Blue Warm">
      <a:dk1>
        <a:srgbClr val="000000"/>
      </a:dk1>
      <a:lt1>
        <a:srgbClr val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605084a-ff73-4402-b411-592893c12037">
      <Terms xmlns="http://schemas.microsoft.com/office/infopath/2007/PartnerControls"/>
    </lcf76f155ced4ddcb4097134ff3c332f>
    <TaxCatchAll xmlns="63fbc521-6543-430c-b303-46b53839e06c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FA80BDEAF50D4AA58302789B9F8B56" ma:contentTypeVersion="17" ma:contentTypeDescription="Create a new document." ma:contentTypeScope="" ma:versionID="277bb40abbc8e210a9c85ab14e03fb6f">
  <xsd:schema xmlns:xsd="http://www.w3.org/2001/XMLSchema" xmlns:xs="http://www.w3.org/2001/XMLSchema" xmlns:p="http://schemas.microsoft.com/office/2006/metadata/properties" xmlns:ns2="9605084a-ff73-4402-b411-592893c12037" xmlns:ns3="63fbc521-6543-430c-b303-46b53839e06c" targetNamespace="http://schemas.microsoft.com/office/2006/metadata/properties" ma:root="true" ma:fieldsID="e1d3dc67d2c0d4aa66f7bb97709c3d77" ns2:_="" ns3:_="">
    <xsd:import namespace="9605084a-ff73-4402-b411-592893c12037"/>
    <xsd:import namespace="63fbc521-6543-430c-b303-46b53839e06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05084a-ff73-4402-b411-592893c120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495ac849-83ee-43fe-866a-f960c72b54f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fbc521-6543-430c-b303-46b53839e06c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f015ed17-9a01-44f5-9524-8c4b812b7671}" ma:internalName="TaxCatchAll" ma:showField="CatchAllData" ma:web="63fbc521-6543-430c-b303-46b53839e06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829F263-9A9F-40DE-8C27-F8B97C694F02}">
  <ds:schemaRefs>
    <ds:schemaRef ds:uri="http://schemas.microsoft.com/office/2006/metadata/properties"/>
    <ds:schemaRef ds:uri="http://www.w3.org/2000/xmlns/"/>
    <ds:schemaRef ds:uri="9605084a-ff73-4402-b411-592893c12037"/>
    <ds:schemaRef ds:uri="http://schemas.microsoft.com/office/infopath/2007/PartnerControls"/>
    <ds:schemaRef ds:uri="63fbc521-6543-430c-b303-46b53839e06c"/>
    <ds:schemaRef ds:uri="http://www.w3.org/2001/XMLSchema-instance"/>
  </ds:schemaRefs>
</ds:datastoreItem>
</file>

<file path=customXml/itemProps2.xml><?xml version="1.0" encoding="utf-8"?>
<ds:datastoreItem xmlns:ds="http://schemas.openxmlformats.org/officeDocument/2006/customXml" ds:itemID="{70897C49-19AF-4650-9607-855109F8928E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9605084a-ff73-4402-b411-592893c12037"/>
    <ds:schemaRef ds:uri="63fbc521-6543-430c-b303-46b53839e06c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00411D1-A1FA-492F-B3FF-38B6BA8123C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317</TotalTime>
  <Words>869</Words>
  <Application>Microsoft Office PowerPoint</Application>
  <PresentationFormat>Ευρεία οθόνη</PresentationFormat>
  <Paragraphs>87</Paragraphs>
  <Slides>8</Slides>
  <Notes>1</Notes>
  <HiddenSlides>0</HiddenSlides>
  <MMClips>0</MMClips>
  <ScaleCrop>false</ScaleCrop>
  <HeadingPairs>
    <vt:vector size="8" baseType="variant">
      <vt:variant>
        <vt:lpstr>Γραμματοσειρές που χρησιμοποιούνται</vt:lpstr>
      </vt:variant>
      <vt:variant>
        <vt:i4>4</vt:i4>
      </vt:variant>
      <vt:variant>
        <vt:lpstr>Θέμα</vt:lpstr>
      </vt:variant>
      <vt:variant>
        <vt:i4>1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8</vt:i4>
      </vt:variant>
    </vt:vector>
  </HeadingPairs>
  <TitlesOfParts>
    <vt:vector size="14" baseType="lpstr">
      <vt:lpstr>Aptos</vt:lpstr>
      <vt:lpstr>Arial</vt:lpstr>
      <vt:lpstr>Calibri</vt:lpstr>
      <vt:lpstr>Segoe UI</vt:lpstr>
      <vt:lpstr>1_Office Theme</vt:lpstr>
      <vt:lpstr>think-cell Slide</vt:lpstr>
      <vt:lpstr>Καταπολεμώντας την Υπερ- συνταγογράφηση: Μια Νέα Εποχή στην Ιατρική Ακεραιότητα</vt:lpstr>
      <vt:lpstr>Το Πρόβλημα της Υπερσυνταγογράφησης</vt:lpstr>
      <vt:lpstr>Η Λύση μας: Εποπτεία βασισμένη σε πραγματικά δεδομένα χάρη στα νέα συστήματα της ΗΔΙΚΑ κατά της απάτης</vt:lpstr>
      <vt:lpstr>Τα νέα συστήματα της ΗΔΙΚΑ κατά της απάτης μας προσφέρουν ένα μεγάλο όγκο δεδομένων για οποιαδήποτε συνταγή και ασθενή</vt:lpstr>
      <vt:lpstr>Κύριοι τομείς εστίασης: Στοχεύοντας στη βάση του προβλήματος</vt:lpstr>
      <vt:lpstr>Τα Επιτεύγματά μας: Σημαντική πρόοδος το 2024</vt:lpstr>
      <vt:lpstr>Χαρακτηριστικές περιπτώσεις</vt:lpstr>
      <vt:lpstr>Μηδενική ανοχή στην Υπερ- συνταγογράφηση: Μια δέσμευση για την προστασία της δημόσιας υγείας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Αναδιοργάνωση ΕΟΠΥΥ  - Άξονες παρεμβάσεων</dc:title>
  <dc:creator>Microsoft Office User</dc:creator>
  <cp:lastModifiedBy>Vion Psiakis</cp:lastModifiedBy>
  <cp:revision>189</cp:revision>
  <dcterms:created xsi:type="dcterms:W3CDTF">2023-12-21T10:14:00Z</dcterms:created>
  <dcterms:modified xsi:type="dcterms:W3CDTF">2024-10-15T19:33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FA80BDEAF50D4AA58302789B9F8B56</vt:lpwstr>
  </property>
</Properties>
</file>